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notesSlides/notesSlide117.xml" ContentType="application/vnd.openxmlformats-officedocument.presentationml.notesSlide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notesSlides/notesSlide121.xml" ContentType="application/vnd.openxmlformats-officedocument.presentationml.notesSlide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notesSlides/notesSlide126.xml" ContentType="application/vnd.openxmlformats-officedocument.presentationml.notesSlide+xml"/>
  <Override PartName="/ppt/notesSlides/notesSlide127.xml" ContentType="application/vnd.openxmlformats-officedocument.presentationml.notesSlide+xml"/>
  <Override PartName="/ppt/notesSlides/notesSlide128.xml" ContentType="application/vnd.openxmlformats-officedocument.presentationml.notesSlide+xml"/>
  <Override PartName="/ppt/notesSlides/notesSlide129.xml" ContentType="application/vnd.openxmlformats-officedocument.presentationml.notesSlide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ppt/notesSlides/notesSlide1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5"/>
  </p:notesMasterIdLst>
  <p:sldIdLst>
    <p:sldId id="256" r:id="rId2"/>
    <p:sldId id="257" r:id="rId3"/>
    <p:sldId id="278" r:id="rId4"/>
    <p:sldId id="279" r:id="rId5"/>
    <p:sldId id="280" r:id="rId6"/>
    <p:sldId id="281" r:id="rId7"/>
    <p:sldId id="283" r:id="rId8"/>
    <p:sldId id="282" r:id="rId9"/>
    <p:sldId id="273" r:id="rId10"/>
    <p:sldId id="284" r:id="rId11"/>
    <p:sldId id="271" r:id="rId12"/>
    <p:sldId id="285" r:id="rId13"/>
    <p:sldId id="286" r:id="rId14"/>
    <p:sldId id="287" r:id="rId15"/>
    <p:sldId id="288" r:id="rId16"/>
    <p:sldId id="292" r:id="rId17"/>
    <p:sldId id="289" r:id="rId18"/>
    <p:sldId id="293" r:id="rId19"/>
    <p:sldId id="290" r:id="rId20"/>
    <p:sldId id="291" r:id="rId21"/>
    <p:sldId id="294" r:id="rId22"/>
    <p:sldId id="295" r:id="rId23"/>
    <p:sldId id="296" r:id="rId24"/>
    <p:sldId id="297" r:id="rId25"/>
    <p:sldId id="299" r:id="rId26"/>
    <p:sldId id="300" r:id="rId27"/>
    <p:sldId id="298" r:id="rId28"/>
    <p:sldId id="301" r:id="rId29"/>
    <p:sldId id="302" r:id="rId30"/>
    <p:sldId id="303" r:id="rId31"/>
    <p:sldId id="304" r:id="rId32"/>
    <p:sldId id="305" r:id="rId33"/>
    <p:sldId id="306" r:id="rId34"/>
    <p:sldId id="307" r:id="rId35"/>
    <p:sldId id="308" r:id="rId36"/>
    <p:sldId id="309" r:id="rId37"/>
    <p:sldId id="310" r:id="rId38"/>
    <p:sldId id="311" r:id="rId39"/>
    <p:sldId id="312" r:id="rId40"/>
    <p:sldId id="313" r:id="rId41"/>
    <p:sldId id="314" r:id="rId42"/>
    <p:sldId id="315" r:id="rId43"/>
    <p:sldId id="316" r:id="rId44"/>
    <p:sldId id="317" r:id="rId45"/>
    <p:sldId id="318" r:id="rId46"/>
    <p:sldId id="319" r:id="rId47"/>
    <p:sldId id="320" r:id="rId48"/>
    <p:sldId id="322" r:id="rId49"/>
    <p:sldId id="321" r:id="rId50"/>
    <p:sldId id="323" r:id="rId51"/>
    <p:sldId id="324" r:id="rId52"/>
    <p:sldId id="325" r:id="rId53"/>
    <p:sldId id="326" r:id="rId54"/>
    <p:sldId id="327" r:id="rId55"/>
    <p:sldId id="328" r:id="rId56"/>
    <p:sldId id="329" r:id="rId57"/>
    <p:sldId id="330" r:id="rId58"/>
    <p:sldId id="331" r:id="rId59"/>
    <p:sldId id="332" r:id="rId60"/>
    <p:sldId id="333" r:id="rId61"/>
    <p:sldId id="334" r:id="rId62"/>
    <p:sldId id="335" r:id="rId63"/>
    <p:sldId id="336" r:id="rId64"/>
    <p:sldId id="337" r:id="rId65"/>
    <p:sldId id="338" r:id="rId66"/>
    <p:sldId id="340" r:id="rId67"/>
    <p:sldId id="339" r:id="rId68"/>
    <p:sldId id="341" r:id="rId69"/>
    <p:sldId id="342" r:id="rId70"/>
    <p:sldId id="343" r:id="rId71"/>
    <p:sldId id="344" r:id="rId72"/>
    <p:sldId id="345" r:id="rId73"/>
    <p:sldId id="346" r:id="rId74"/>
    <p:sldId id="348" r:id="rId75"/>
    <p:sldId id="347" r:id="rId76"/>
    <p:sldId id="349" r:id="rId77"/>
    <p:sldId id="350" r:id="rId78"/>
    <p:sldId id="351" r:id="rId79"/>
    <p:sldId id="352" r:id="rId80"/>
    <p:sldId id="353" r:id="rId81"/>
    <p:sldId id="354" r:id="rId82"/>
    <p:sldId id="355" r:id="rId83"/>
    <p:sldId id="356" r:id="rId84"/>
    <p:sldId id="357" r:id="rId85"/>
    <p:sldId id="358" r:id="rId86"/>
    <p:sldId id="362" r:id="rId87"/>
    <p:sldId id="359" r:id="rId88"/>
    <p:sldId id="360" r:id="rId89"/>
    <p:sldId id="361" r:id="rId90"/>
    <p:sldId id="363" r:id="rId91"/>
    <p:sldId id="364" r:id="rId92"/>
    <p:sldId id="365" r:id="rId93"/>
    <p:sldId id="366" r:id="rId94"/>
    <p:sldId id="367" r:id="rId95"/>
    <p:sldId id="368" r:id="rId96"/>
    <p:sldId id="369" r:id="rId97"/>
    <p:sldId id="370" r:id="rId98"/>
    <p:sldId id="371" r:id="rId99"/>
    <p:sldId id="372" r:id="rId100"/>
    <p:sldId id="373" r:id="rId101"/>
    <p:sldId id="374" r:id="rId102"/>
    <p:sldId id="375" r:id="rId103"/>
    <p:sldId id="376" r:id="rId104"/>
    <p:sldId id="377" r:id="rId105"/>
    <p:sldId id="378" r:id="rId106"/>
    <p:sldId id="379" r:id="rId107"/>
    <p:sldId id="380" r:id="rId108"/>
    <p:sldId id="381" r:id="rId109"/>
    <p:sldId id="382" r:id="rId110"/>
    <p:sldId id="383" r:id="rId111"/>
    <p:sldId id="384" r:id="rId112"/>
    <p:sldId id="385" r:id="rId113"/>
    <p:sldId id="386" r:id="rId114"/>
    <p:sldId id="387" r:id="rId115"/>
    <p:sldId id="390" r:id="rId116"/>
    <p:sldId id="389" r:id="rId117"/>
    <p:sldId id="391" r:id="rId118"/>
    <p:sldId id="392" r:id="rId119"/>
    <p:sldId id="393" r:id="rId120"/>
    <p:sldId id="394" r:id="rId121"/>
    <p:sldId id="395" r:id="rId122"/>
    <p:sldId id="396" r:id="rId123"/>
    <p:sldId id="397" r:id="rId124"/>
    <p:sldId id="398" r:id="rId125"/>
    <p:sldId id="399" r:id="rId126"/>
    <p:sldId id="401" r:id="rId127"/>
    <p:sldId id="400" r:id="rId128"/>
    <p:sldId id="402" r:id="rId129"/>
    <p:sldId id="403" r:id="rId130"/>
    <p:sldId id="404" r:id="rId131"/>
    <p:sldId id="405" r:id="rId132"/>
    <p:sldId id="406" r:id="rId133"/>
    <p:sldId id="388" r:id="rId134"/>
  </p:sldIdLst>
  <p:sldSz cx="12192000" cy="6858000"/>
  <p:notesSz cx="6858000" cy="9144000"/>
  <p:custDataLst>
    <p:tags r:id="rId1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snawanugroho" initials="t" lastIdx="13" clrIdx="0">
    <p:extLst>
      <p:ext uri="{19B8F6BF-5375-455C-9EA6-DF929625EA0E}">
        <p15:presenceInfo xmlns:p15="http://schemas.microsoft.com/office/powerpoint/2012/main" userId="trisnawanugroh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8492"/>
    <a:srgbClr val="101935"/>
    <a:srgbClr val="564787"/>
    <a:srgbClr val="A53975"/>
    <a:srgbClr val="652D74"/>
    <a:srgbClr val="DBCBD8"/>
    <a:srgbClr val="F2FDFF"/>
    <a:srgbClr val="9AD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0307" autoAdjust="0"/>
  </p:normalViewPr>
  <p:slideViewPr>
    <p:cSldViewPr snapToGrid="0">
      <p:cViewPr varScale="1">
        <p:scale>
          <a:sx n="68" d="100"/>
          <a:sy n="68" d="100"/>
        </p:scale>
        <p:origin x="816" y="7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presProps" Target="presProps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viewProps" Target="viewProps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notesMaster" Target="notesMasters/notesMaster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tags" Target="tags/tag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80334-13B4-4816-BC0B-C9543A5DB747}" type="datetimeFigureOut">
              <a:rPr lang="en-US" smtClean="0"/>
              <a:t>1/1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25FB8-320C-4083-8A3A-856629D1A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43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1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124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37301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546398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912235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773117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207795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290566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84109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429204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459871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289745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7080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08398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993076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911637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418496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167976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662363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724595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661674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356961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946339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266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16322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092759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476502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164018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134463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727583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764796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311946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22757"/>
      </p:ext>
    </p:extLst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271740"/>
      </p:ext>
    </p:extLst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6978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221269"/>
      </p:ext>
    </p:extLst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607879"/>
      </p:ext>
    </p:extLst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07485"/>
      </p:ext>
    </p:extLst>
  </p:cSld>
  <p:clrMapOvr>
    <a:masterClrMapping/>
  </p:clrMapOvr>
</p:note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770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4504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3109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4162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7372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6107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496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4954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2180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5496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17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9827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38653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419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63745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4041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4447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243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35251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70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6398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1372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26471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14489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581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23780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7262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5353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9549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30565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14443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90496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54886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47404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2730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9910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51099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01565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09524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5719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91477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64413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00781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75104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71566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664424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41859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55667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09262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197635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304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56515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88959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492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28155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203785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99019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264897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71918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0104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746183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223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411384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24555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961360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226314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95301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534034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385840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526492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49090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94166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8742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88562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16376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59223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118574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54839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969707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55218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219740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966744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721732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884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878853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16919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896285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273230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009971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842359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386138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262682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208764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490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FC1A2541-C66C-4680-968E-4CFD21EFF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DCC127CB-45BF-4D09-B501-F4C759F644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CC5F3DBF-45AF-4497-B142-6B38DF4B36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738DDFBC-1843-4C12-9D5E-451430B716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0ADFB6B-EF4D-40B0-B7EB-BB5B7BCA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F285D75-D480-429C-B8A5-568CD5D6C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1BA913B-0C70-402E-BF80-D38C98E02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4D2E29-67F4-44D8-B0E3-F54815B4F1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572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="" xmlns:a16="http://schemas.microsoft.com/office/drawing/2014/main" id="{1A405EED-F690-4A11-92A7-2981DA55D4FE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DBA2064D-F3C3-4247-BB0E-3A8B9A2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0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F16F16FD-2C53-403B-BF33-81984B8570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634B0F8-76FB-42F2-8E67-4517D27F0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B9F3021-AB9D-4B2B-987A-B25B40257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30859"/>
            <a:ext cx="10972800" cy="484610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BF14A7C7-1984-4854-9D29-7402A14F4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993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pos="7296" userDrawn="1">
          <p15:clr>
            <a:srgbClr val="FBAE40"/>
          </p15:clr>
        </p15:guide>
        <p15:guide id="3" pos="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EC59F4C5-B0B1-4297-BAA0-7E0E72AF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0197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51C34D6F-D0F4-4534-8C4A-5CB0647CBE1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C15189CC-BB19-4580-9BD1-E60E21E8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FBED655-EDEF-4F48-8965-AC9A79BA0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30859"/>
            <a:ext cx="10972800" cy="484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: Single Corner Rounded 12">
            <a:extLst>
              <a:ext uri="{FF2B5EF4-FFF2-40B4-BE49-F238E27FC236}">
                <a16:creationId xmlns="" xmlns:a16="http://schemas.microsoft.com/office/drawing/2014/main" id="{D9201932-F016-4634-83E9-B726DBE3A173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6AC4CF72-3B1D-42D0-A397-3629DD6AB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pos="3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JPG"/><Relationship Id="rId5" Type="http://schemas.openxmlformats.org/officeDocument/2006/relationships/image" Target="../media/image71.png"/><Relationship Id="rId4" Type="http://schemas.microsoft.com/office/2007/relationships/hdphoto" Target="../media/hdphoto2.wdp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3.JPG"/><Relationship Id="rId4" Type="http://schemas.microsoft.com/office/2007/relationships/hdphoto" Target="../media/hdphoto2.wdp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JPG"/><Relationship Id="rId4" Type="http://schemas.microsoft.com/office/2007/relationships/hdphoto" Target="../media/hdphoto2.wdp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5.JPG"/><Relationship Id="rId4" Type="http://schemas.microsoft.com/office/2007/relationships/hdphoto" Target="../media/hdphoto2.wdp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6.JPG"/><Relationship Id="rId4" Type="http://schemas.microsoft.com/office/2007/relationships/hdphoto" Target="../media/hdphoto2.wdp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7.JPG"/><Relationship Id="rId4" Type="http://schemas.microsoft.com/office/2007/relationships/hdphoto" Target="../media/hdphoto2.wdp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8.JPG"/><Relationship Id="rId4" Type="http://schemas.microsoft.com/office/2007/relationships/hdphoto" Target="../media/hdphoto2.wdp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G"/><Relationship Id="rId4" Type="http://schemas.microsoft.com/office/2007/relationships/hdphoto" Target="../media/hdphoto2.wdp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9.JPG"/><Relationship Id="rId4" Type="http://schemas.microsoft.com/office/2007/relationships/hdphoto" Target="../media/hdphoto2.wdp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0.JPG"/><Relationship Id="rId4" Type="http://schemas.microsoft.com/office/2007/relationships/hdphoto" Target="../media/hdphoto2.wdp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1.JPG"/><Relationship Id="rId4" Type="http://schemas.microsoft.com/office/2007/relationships/hdphoto" Target="../media/hdphoto2.wdp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2.JPG"/><Relationship Id="rId4" Type="http://schemas.microsoft.com/office/2007/relationships/hdphoto" Target="../media/hdphoto2.wdp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3.JPG"/><Relationship Id="rId4" Type="http://schemas.microsoft.com/office/2007/relationships/hdphoto" Target="../media/hdphoto2.wdp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4.png"/><Relationship Id="rId4" Type="http://schemas.microsoft.com/office/2007/relationships/hdphoto" Target="../media/hdphoto2.wdp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JPG"/><Relationship Id="rId4" Type="http://schemas.microsoft.com/office/2007/relationships/hdphoto" Target="../media/hdphoto2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G"/><Relationship Id="rId4" Type="http://schemas.microsoft.com/office/2007/relationships/hdphoto" Target="../media/hdphoto2.wdp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6.JPG"/><Relationship Id="rId4" Type="http://schemas.microsoft.com/office/2007/relationships/hdphoto" Target="../media/hdphoto2.wdp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7.JPG"/><Relationship Id="rId4" Type="http://schemas.microsoft.com/office/2007/relationships/hdphoto" Target="../media/hdphoto2.wdp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8.JPG"/><Relationship Id="rId4" Type="http://schemas.microsoft.com/office/2007/relationships/hdphoto" Target="../media/hdphoto2.wdp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9.JPG"/><Relationship Id="rId4" Type="http://schemas.microsoft.com/office/2007/relationships/hdphoto" Target="../media/hdphoto2.wdp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0.JPG"/><Relationship Id="rId4" Type="http://schemas.microsoft.com/office/2007/relationships/hdphoto" Target="../media/hdphoto2.wdp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1.JPG"/><Relationship Id="rId4" Type="http://schemas.microsoft.com/office/2007/relationships/hdphoto" Target="../media/hdphoto2.wdp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2.JPG"/><Relationship Id="rId4" Type="http://schemas.microsoft.com/office/2007/relationships/hdphoto" Target="../media/hdphoto2.wdp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G"/><Relationship Id="rId4" Type="http://schemas.microsoft.com/office/2007/relationships/hdphoto" Target="../media/hdphoto2.wdp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G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G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G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G"/><Relationship Id="rId4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G"/><Relationship Id="rId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microsoft.com/office/2007/relationships/hdphoto" Target="../media/hdphoto2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G"/><Relationship Id="rId4" Type="http://schemas.microsoft.com/office/2007/relationships/hdphoto" Target="../media/hdphoto2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G"/><Relationship Id="rId4" Type="http://schemas.microsoft.com/office/2007/relationships/hdphoto" Target="../media/hdphoto2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G"/><Relationship Id="rId4" Type="http://schemas.microsoft.com/office/2007/relationships/hdphoto" Target="../media/hdphoto2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G"/><Relationship Id="rId4" Type="http://schemas.microsoft.com/office/2007/relationships/hdphoto" Target="../media/hdphoto2.wdp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G"/><Relationship Id="rId4" Type="http://schemas.microsoft.com/office/2007/relationships/hdphoto" Target="../media/hdphoto2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G"/><Relationship Id="rId4" Type="http://schemas.microsoft.com/office/2007/relationships/hdphoto" Target="../media/hdphoto2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JPG"/><Relationship Id="rId4" Type="http://schemas.microsoft.com/office/2007/relationships/hdphoto" Target="../media/hdphoto2.wdp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G"/><Relationship Id="rId4" Type="http://schemas.microsoft.com/office/2007/relationships/hdphoto" Target="../media/hdphoto2.wdp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JPG"/><Relationship Id="rId4" Type="http://schemas.microsoft.com/office/2007/relationships/hdphoto" Target="../media/hdphoto2.wdp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G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JPG"/><Relationship Id="rId4" Type="http://schemas.microsoft.com/office/2007/relationships/hdphoto" Target="../media/hdphoto2.wdp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G"/><Relationship Id="rId4" Type="http://schemas.microsoft.com/office/2007/relationships/hdphoto" Target="../media/hdphoto2.wd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G"/><Relationship Id="rId4" Type="http://schemas.microsoft.com/office/2007/relationships/hdphoto" Target="../media/hdphoto2.wdp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G"/><Relationship Id="rId4" Type="http://schemas.microsoft.com/office/2007/relationships/hdphoto" Target="../media/hdphoto2.wdp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G"/><Relationship Id="rId4" Type="http://schemas.microsoft.com/office/2007/relationships/hdphoto" Target="../media/hdphoto2.wdp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JPG"/><Relationship Id="rId4" Type="http://schemas.microsoft.com/office/2007/relationships/hdphoto" Target="../media/hdphoto2.wdp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G"/><Relationship Id="rId4" Type="http://schemas.microsoft.com/office/2007/relationships/hdphoto" Target="../media/hdphoto2.wdp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JPG"/><Relationship Id="rId4" Type="http://schemas.microsoft.com/office/2007/relationships/hdphoto" Target="../media/hdphoto2.wdp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JPG"/><Relationship Id="rId4" Type="http://schemas.microsoft.com/office/2007/relationships/hdphoto" Target="../media/hdphoto2.wdp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G"/><Relationship Id="rId4" Type="http://schemas.microsoft.com/office/2007/relationships/hdphoto" Target="../media/hdphoto2.wdp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G"/><Relationship Id="rId5" Type="http://schemas.openxmlformats.org/officeDocument/2006/relationships/image" Target="../media/image35.png"/><Relationship Id="rId4" Type="http://schemas.microsoft.com/office/2007/relationships/hdphoto" Target="../media/hdphoto2.wdp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JPG"/><Relationship Id="rId4" Type="http://schemas.microsoft.com/office/2007/relationships/hdphoto" Target="../media/hdphoto2.wdp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JPG"/><Relationship Id="rId4" Type="http://schemas.microsoft.com/office/2007/relationships/hdphoto" Target="../media/hdphoto2.wdp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G"/><Relationship Id="rId4" Type="http://schemas.microsoft.com/office/2007/relationships/hdphoto" Target="../media/hdphoto2.wdp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JPG"/><Relationship Id="rId4" Type="http://schemas.microsoft.com/office/2007/relationships/hdphoto" Target="../media/hdphoto2.wdp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JP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JPG"/><Relationship Id="rId4" Type="http://schemas.microsoft.com/office/2007/relationships/hdphoto" Target="../media/hdphoto2.wdp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JPG"/><Relationship Id="rId4" Type="http://schemas.microsoft.com/office/2007/relationships/hdphoto" Target="../media/hdphoto2.wdp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JPG"/><Relationship Id="rId4" Type="http://schemas.microsoft.com/office/2007/relationships/hdphoto" Target="../media/hdphoto2.wdp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JPG"/><Relationship Id="rId4" Type="http://schemas.microsoft.com/office/2007/relationships/hdphoto" Target="../media/hdphoto2.wdp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JPG"/><Relationship Id="rId4" Type="http://schemas.microsoft.com/office/2007/relationships/hdphoto" Target="../media/hdphoto2.wdp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JPG"/><Relationship Id="rId4" Type="http://schemas.microsoft.com/office/2007/relationships/hdphoto" Target="../media/hdphoto2.wdp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JPG"/><Relationship Id="rId4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JPG"/><Relationship Id="rId4" Type="http://schemas.microsoft.com/office/2007/relationships/hdphoto" Target="../media/hdphoto2.wdp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JPG"/><Relationship Id="rId4" Type="http://schemas.microsoft.com/office/2007/relationships/hdphoto" Target="../media/hdphoto2.wdp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JPG"/><Relationship Id="rId4" Type="http://schemas.microsoft.com/office/2007/relationships/hdphoto" Target="../media/hdphoto2.wdp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JPG"/><Relationship Id="rId4" Type="http://schemas.microsoft.com/office/2007/relationships/hdphoto" Target="../media/hdphoto2.wdp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JPG"/><Relationship Id="rId4" Type="http://schemas.microsoft.com/office/2007/relationships/hdphoto" Target="../media/hdphoto2.wdp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4.JPG"/><Relationship Id="rId4" Type="http://schemas.microsoft.com/office/2007/relationships/hdphoto" Target="../media/hdphoto2.wdp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5.JPG"/><Relationship Id="rId4" Type="http://schemas.microsoft.com/office/2007/relationships/hdphoto" Target="../media/hdphoto2.wdp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JPG"/><Relationship Id="rId5" Type="http://schemas.openxmlformats.org/officeDocument/2006/relationships/image" Target="../media/image56.JPG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8.JPG"/><Relationship Id="rId4" Type="http://schemas.microsoft.com/office/2007/relationships/hdphoto" Target="../media/hdphoto2.wdp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G"/><Relationship Id="rId4" Type="http://schemas.microsoft.com/office/2007/relationships/hdphoto" Target="../media/hdphoto2.wdp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0.JPG"/><Relationship Id="rId4" Type="http://schemas.microsoft.com/office/2007/relationships/hdphoto" Target="../media/hdphoto2.wdp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JPG"/><Relationship Id="rId4" Type="http://schemas.microsoft.com/office/2007/relationships/hdphoto" Target="../media/hdphoto2.wdp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JPG"/><Relationship Id="rId4" Type="http://schemas.microsoft.com/office/2007/relationships/hdphoto" Target="../media/hdphoto2.wdp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3.png"/><Relationship Id="rId4" Type="http://schemas.microsoft.com/office/2007/relationships/hdphoto" Target="../media/hdphoto2.wdp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G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5.JPG"/><Relationship Id="rId4" Type="http://schemas.microsoft.com/office/2007/relationships/hdphoto" Target="../media/hdphoto2.wdp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JPG"/><Relationship Id="rId4" Type="http://schemas.microsoft.com/office/2007/relationships/hdphoto" Target="../media/hdphoto2.wdp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JPG"/><Relationship Id="rId4" Type="http://schemas.microsoft.com/office/2007/relationships/hdphoto" Target="../media/hdphoto2.wdp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8.JPG"/><Relationship Id="rId4" Type="http://schemas.microsoft.com/office/2007/relationships/hdphoto" Target="../media/hdphoto2.wdp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8.JPG"/><Relationship Id="rId4" Type="http://schemas.microsoft.com/office/2007/relationships/hdphoto" Target="../media/hdphoto2.wdp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JPG"/><Relationship Id="rId4" Type="http://schemas.microsoft.com/office/2007/relationships/hdphoto" Target="../media/hdphoto2.wdp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0.JPG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>
            <a:extLst>
              <a:ext uri="{FF2B5EF4-FFF2-40B4-BE49-F238E27FC236}">
                <a16:creationId xmlns="" xmlns:a16="http://schemas.microsoft.com/office/drawing/2014/main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6">
            <a:extLst>
              <a:ext uri="{FF2B5EF4-FFF2-40B4-BE49-F238E27FC236}">
                <a16:creationId xmlns="" xmlns:a16="http://schemas.microsoft.com/office/drawing/2014/main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6">
            <a:extLst>
              <a:ext uri="{FF2B5EF4-FFF2-40B4-BE49-F238E27FC236}">
                <a16:creationId xmlns="" xmlns:a16="http://schemas.microsoft.com/office/drawing/2014/main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A person standing next to a computer&#10;&#10;Description automatically generated">
            <a:extLst>
              <a:ext uri="{FF2B5EF4-FFF2-40B4-BE49-F238E27FC236}">
                <a16:creationId xmlns="" xmlns:a16="http://schemas.microsoft.com/office/drawing/2014/main" id="{6B0A5532-14D8-42B9-B21F-D0C438D5F18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747" r="1613"/>
          <a:stretch/>
        </p:blipFill>
        <p:spPr>
          <a:xfrm>
            <a:off x="0" y="0"/>
            <a:ext cx="6539571" cy="6858000"/>
          </a:xfrm>
          <a:custGeom>
            <a:avLst/>
            <a:gdLst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8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6">
            <a:extLst>
              <a:ext uri="{FF2B5EF4-FFF2-40B4-BE49-F238E27FC236}">
                <a16:creationId xmlns="" xmlns:a16="http://schemas.microsoft.com/office/drawing/2014/main" id="{B018D872-74EC-4C12-835A-5F484647A850}"/>
              </a:ext>
            </a:extLst>
          </p:cNvPr>
          <p:cNvSpPr/>
          <p:nvPr/>
        </p:nvSpPr>
        <p:spPr>
          <a:xfrm>
            <a:off x="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315CBA77-EC7F-4B18-98D5-C1EA7972AC80}"/>
              </a:ext>
            </a:extLst>
          </p:cNvPr>
          <p:cNvSpPr/>
          <p:nvPr/>
        </p:nvSpPr>
        <p:spPr>
          <a:xfrm>
            <a:off x="4533900" y="3947886"/>
            <a:ext cx="7658099" cy="218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="" xmlns:a16="http://schemas.microsoft.com/office/drawing/2014/main" id="{6A810F44-2B55-464B-BB8C-B14B9A679EA9}"/>
              </a:ext>
            </a:extLst>
          </p:cNvPr>
          <p:cNvCxnSpPr>
            <a:cxnSpLocks/>
          </p:cNvCxnSpPr>
          <p:nvPr/>
        </p:nvCxnSpPr>
        <p:spPr>
          <a:xfrm>
            <a:off x="4978742" y="4282848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E940B0CD-CDC3-4D1A-BED9-138021592740}"/>
              </a:ext>
            </a:extLst>
          </p:cNvPr>
          <p:cNvSpPr txBox="1"/>
          <p:nvPr/>
        </p:nvSpPr>
        <p:spPr>
          <a:xfrm>
            <a:off x="4978742" y="4554763"/>
            <a:ext cx="5507836" cy="681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5400" b="1" dirty="0" smtClean="0"/>
              <a:t>PYTHON</a:t>
            </a:r>
            <a:endParaRPr lang="en-US" sz="5400" b="1" dirty="0"/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CB7E72AE-21F9-48A1-9B62-3C22913145E4}"/>
              </a:ext>
            </a:extLst>
          </p:cNvPr>
          <p:cNvSpPr txBox="1"/>
          <p:nvPr/>
        </p:nvSpPr>
        <p:spPr>
          <a:xfrm>
            <a:off x="4978742" y="5272125"/>
            <a:ext cx="490549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 smtClean="0"/>
              <a:t>LET’S LEARN PROGRAMMING SMOOTHLY.</a:t>
            </a:r>
            <a:endParaRPr lang="en-US" sz="1600" dirty="0"/>
          </a:p>
        </p:txBody>
      </p:sp>
      <p:sp>
        <p:nvSpPr>
          <p:cNvPr id="42" name="Slide Number Placeholder 41">
            <a:extLst>
              <a:ext uri="{FF2B5EF4-FFF2-40B4-BE49-F238E27FC236}">
                <a16:creationId xmlns="" xmlns:a16="http://schemas.microsoft.com/office/drawing/2014/main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46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0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772" y="398058"/>
            <a:ext cx="5509846" cy="77561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BASIC DATA TYPE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ND </a:t>
            </a:r>
            <a:br>
              <a:rPr lang="en-US" dirty="0" smtClean="0"/>
            </a:br>
            <a:r>
              <a:rPr lang="en-US" dirty="0" smtClean="0"/>
              <a:t>ASSIGNMENTS</a:t>
            </a:r>
            <a:endParaRPr lang="en-US" dirty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=""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3000" y="191839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2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=""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042" y="-581994"/>
            <a:ext cx="5570958" cy="7090310"/>
          </a:xfrm>
          <a:prstGeom prst="rect">
            <a:avLst/>
          </a:prstGeom>
        </p:spPr>
      </p:pic>
      <p:sp>
        <p:nvSpPr>
          <p:cNvPr id="12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1007642" y="2230482"/>
            <a:ext cx="5613400" cy="21587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/>
              <a:t>Integ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/>
              <a:t>Floa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/>
              <a:t>Str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/>
              <a:t>Complex numb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 flipV="1">
            <a:off x="1386059" y="1575582"/>
            <a:ext cx="1427479" cy="20335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9633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ython if...</a:t>
            </a:r>
            <a:r>
              <a:rPr lang="en-US" dirty="0" err="1">
                <a:solidFill>
                  <a:schemeClr val="bg1"/>
                </a:solidFill>
              </a:rPr>
              <a:t>elif</a:t>
            </a:r>
            <a:r>
              <a:rPr lang="en-US" dirty="0">
                <a:solidFill>
                  <a:schemeClr val="bg1"/>
                </a:solidFill>
              </a:rPr>
              <a:t>...else Stat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1586780"/>
            <a:ext cx="8262204" cy="175292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3339706"/>
            <a:ext cx="8600863" cy="3307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353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For loop example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7822" y="2018255"/>
            <a:ext cx="4869760" cy="411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24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For loop </a:t>
            </a:r>
            <a:r>
              <a:rPr lang="en-US" dirty="0" smtClean="0">
                <a:solidFill>
                  <a:schemeClr val="bg1"/>
                </a:solidFill>
              </a:rPr>
              <a:t>example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833" y="2098973"/>
            <a:ext cx="11170334" cy="3527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134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For loop </a:t>
            </a:r>
            <a:r>
              <a:rPr lang="en-US" dirty="0" smtClean="0">
                <a:solidFill>
                  <a:schemeClr val="bg1"/>
                </a:solidFill>
              </a:rPr>
              <a:t>example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079" y="1950217"/>
            <a:ext cx="8667750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79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For loop </a:t>
            </a:r>
            <a:r>
              <a:rPr lang="en-US" dirty="0" smtClean="0">
                <a:solidFill>
                  <a:schemeClr val="bg1"/>
                </a:solidFill>
              </a:rPr>
              <a:t>example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999004"/>
            <a:ext cx="11018265" cy="312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991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For Loop Example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5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43" y="2016151"/>
            <a:ext cx="11846777" cy="3371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847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While Loop Examp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6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720730"/>
            <a:ext cx="855345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143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/>
            <a:r>
              <a:rPr lang="en-US" sz="4800" b="1" dirty="0">
                <a:solidFill>
                  <a:srgbClr val="252830"/>
                </a:solidFill>
                <a:latin typeface="Open Sans"/>
              </a:rPr>
              <a:t>Python </a:t>
            </a:r>
            <a:r>
              <a:rPr lang="en-US" sz="4800" b="1" dirty="0" smtClean="0">
                <a:solidFill>
                  <a:srgbClr val="252830"/>
                </a:solidFill>
                <a:latin typeface="Open Sans"/>
              </a:rPr>
              <a:t>Function :</a:t>
            </a:r>
            <a:endParaRPr lang="en-US" sz="4800" b="1" dirty="0">
              <a:solidFill>
                <a:srgbClr val="252830"/>
              </a:solidFill>
              <a:latin typeface="Open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73989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ython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609600" y="2908602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b="0" i="0" u="none" strike="noStrike" baseline="0" dirty="0" smtClean="0">
                <a:latin typeface="+mj-lt"/>
                <a:cs typeface="Arial" panose="020B0604020202020204" pitchFamily="34" charset="0"/>
              </a:rPr>
              <a:t>Functions help break our program into smaller and modular</a:t>
            </a:r>
            <a:r>
              <a:rPr lang="en-US" sz="2800" b="0" i="0" u="none" strike="noStrike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US" sz="2800" b="0" i="0" u="none" strike="noStrike" baseline="0" dirty="0" smtClean="0">
                <a:latin typeface="+mj-lt"/>
                <a:cs typeface="Arial" panose="020B0604020202020204" pitchFamily="34" charset="0"/>
              </a:rPr>
              <a:t>chunks.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54560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asic Synta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0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609600" y="2908602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dirty="0" err="1" smtClean="0">
                <a:latin typeface="+mj-lt"/>
                <a:cs typeface="Arial" panose="020B0604020202020204" pitchFamily="34" charset="0"/>
              </a:rPr>
              <a:t>def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  </a:t>
            </a:r>
            <a:r>
              <a:rPr lang="en-US" sz="2800" dirty="0" err="1">
                <a:latin typeface="+mj-lt"/>
                <a:cs typeface="Arial" panose="020B0604020202020204" pitchFamily="34" charset="0"/>
              </a:rPr>
              <a:t>function_name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(parameters):</a:t>
            </a:r>
          </a:p>
          <a:p>
            <a:r>
              <a:rPr lang="en-US" sz="2800" dirty="0">
                <a:latin typeface="+mj-lt"/>
                <a:cs typeface="Arial" panose="020B0604020202020204" pitchFamily="34" charset="0"/>
              </a:rPr>
              <a:t>	</a:t>
            </a:r>
          </a:p>
          <a:p>
            <a:r>
              <a:rPr lang="en-US" sz="2800" dirty="0">
                <a:latin typeface="+mj-lt"/>
                <a:cs typeface="Arial" panose="020B0604020202020204" pitchFamily="34" charset="0"/>
              </a:rPr>
              <a:t>	statement(s)</a:t>
            </a:r>
          </a:p>
        </p:txBody>
      </p:sp>
    </p:spTree>
    <p:extLst>
      <p:ext uri="{BB962C8B-B14F-4D97-AF65-F5344CB8AC3E}">
        <p14:creationId xmlns:p14="http://schemas.microsoft.com/office/powerpoint/2010/main" val="3336424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1: Initializing </a:t>
            </a:r>
            <a:r>
              <a:rPr lang="en-US" dirty="0" smtClean="0">
                <a:solidFill>
                  <a:schemeClr val="bg1"/>
                </a:solidFill>
              </a:rPr>
              <a:t>Variable 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4" name="Picture 8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95" y="2426261"/>
            <a:ext cx="11632125" cy="3059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108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Procedure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314" y="2000507"/>
            <a:ext cx="5164834" cy="4461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622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1: defining a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44" y="2527853"/>
            <a:ext cx="12009556" cy="2856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280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2: Calling a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849"/>
          <a:stretch/>
        </p:blipFill>
        <p:spPr>
          <a:xfrm>
            <a:off x="609600" y="2009044"/>
            <a:ext cx="10949939" cy="344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738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3: Using Scope Variab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75" y="1845869"/>
            <a:ext cx="10536256" cy="4033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28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ERCI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09600" y="2305064"/>
            <a:ext cx="927998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en-US" sz="2800" b="0" i="0" u="none" strike="noStrike" baseline="0" dirty="0" smtClean="0">
                <a:latin typeface="+mj-lt"/>
                <a:cs typeface="Arial" panose="020B0604020202020204" pitchFamily="34" charset="0"/>
              </a:rPr>
              <a:t>Write a program to show the even numbers in range 0-50</a:t>
            </a:r>
            <a:r>
              <a:rPr lang="en-US" sz="2800" b="0" i="0" u="none" strike="noStrike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US" sz="2800" b="0" i="0" u="none" strike="noStrike" baseline="0" dirty="0" smtClean="0">
                <a:latin typeface="+mj-lt"/>
                <a:cs typeface="Arial" panose="020B0604020202020204" pitchFamily="34" charset="0"/>
              </a:rPr>
              <a:t>using function.</a:t>
            </a:r>
          </a:p>
          <a:p>
            <a:pPr marL="342900" indent="-342900">
              <a:buAutoNum type="arabicPeriod"/>
            </a:pPr>
            <a:endParaRPr lang="en-US" sz="2800" b="0" i="0" u="none" strike="noStrike" baseline="0" dirty="0" smtClean="0">
              <a:latin typeface="+mj-lt"/>
              <a:cs typeface="Arial" panose="020B0604020202020204" pitchFamily="34" charset="0"/>
            </a:endParaRPr>
          </a:p>
          <a:p>
            <a:r>
              <a:rPr lang="en-US" sz="2800" b="0" i="0" u="none" strike="noStrike" baseline="0" dirty="0" smtClean="0">
                <a:latin typeface="+mj-lt"/>
                <a:cs typeface="Arial" panose="020B0604020202020204" pitchFamily="34" charset="0"/>
              </a:rPr>
              <a:t>2.    Print sum of a list using function.</a:t>
            </a:r>
            <a:endParaRPr lang="en-US" sz="3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84836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/>
            <a:r>
              <a:rPr lang="en-US" sz="4800" b="1" dirty="0" smtClean="0">
                <a:solidFill>
                  <a:srgbClr val="252830"/>
                </a:solidFill>
                <a:latin typeface="Open Sans"/>
              </a:rPr>
              <a:t>OOPS</a:t>
            </a:r>
            <a:r>
              <a:rPr lang="en-US" sz="4800" b="1" dirty="0" smtClean="0">
                <a:solidFill>
                  <a:srgbClr val="252830"/>
                </a:solidFill>
                <a:latin typeface="Open Sans"/>
              </a:rPr>
              <a:t> </a:t>
            </a:r>
            <a:r>
              <a:rPr lang="en-US" sz="4800" b="1" dirty="0" smtClean="0">
                <a:solidFill>
                  <a:srgbClr val="252830"/>
                </a:solidFill>
                <a:latin typeface="Open Sans"/>
              </a:rPr>
              <a:t>:</a:t>
            </a:r>
            <a:endParaRPr lang="en-US" sz="4800" b="1" dirty="0">
              <a:solidFill>
                <a:srgbClr val="252830"/>
              </a:solidFill>
              <a:latin typeface="Open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771022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reating Class and Obj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6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364" y="1986285"/>
            <a:ext cx="9816811" cy="427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527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bout using "self" in Python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95643" y="2214174"/>
            <a:ext cx="6096000" cy="22510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j-lt"/>
                <a:cs typeface="Arial" panose="020B0604020202020204" pitchFamily="34" charset="0"/>
              </a:rPr>
              <a:t>The </a:t>
            </a:r>
            <a:r>
              <a:rPr lang="en-US" sz="2400" dirty="0">
                <a:latin typeface="+mj-lt"/>
                <a:cs typeface="Arial" panose="020B0604020202020204" pitchFamily="34" charset="0"/>
              </a:rPr>
              <a:t>self‐argument refers to the object itself. Hence the </a:t>
            </a:r>
            <a:r>
              <a:rPr lang="en-US" sz="2400" dirty="0" smtClean="0">
                <a:latin typeface="+mj-lt"/>
                <a:cs typeface="Arial" panose="020B0604020202020204" pitchFamily="34" charset="0"/>
              </a:rPr>
              <a:t>use of </a:t>
            </a:r>
            <a:r>
              <a:rPr lang="en-US" sz="2400" dirty="0">
                <a:latin typeface="+mj-lt"/>
                <a:cs typeface="Arial" panose="020B0604020202020204" pitchFamily="34" charset="0"/>
              </a:rPr>
              <a:t>the word self. So inside this method, self will refer to </a:t>
            </a:r>
            <a:r>
              <a:rPr lang="en-US" sz="2400" dirty="0" smtClean="0">
                <a:latin typeface="+mj-lt"/>
                <a:cs typeface="Arial" panose="020B0604020202020204" pitchFamily="34" charset="0"/>
              </a:rPr>
              <a:t>the </a:t>
            </a:r>
            <a:r>
              <a:rPr lang="en-US" sz="2400" dirty="0">
                <a:latin typeface="+mj-lt"/>
                <a:cs typeface="Arial" panose="020B0604020202020204" pitchFamily="34" charset="0"/>
              </a:rPr>
              <a:t>specific instance of this object that's being operated on.</a:t>
            </a: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89988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Sending parameters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2875" y="1505864"/>
            <a:ext cx="8439150" cy="470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553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reating Function in Cla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7475" y="1360441"/>
            <a:ext cx="6877050" cy="528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469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 2: integ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09" y="1892346"/>
            <a:ext cx="11120891" cy="4477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534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reating Multiple Function in Cla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079" y="1505864"/>
            <a:ext cx="5572125" cy="523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440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hecking Attributes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69033" y="2085425"/>
            <a:ext cx="822022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err="1">
                <a:latin typeface="+mj-lt"/>
              </a:rPr>
              <a:t>getattr</a:t>
            </a:r>
            <a:r>
              <a:rPr lang="en-US" sz="2400" dirty="0">
                <a:latin typeface="+mj-lt"/>
              </a:rPr>
              <a:t>() ‐‐‐&gt; Get the attribute from clas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err="1">
                <a:latin typeface="+mj-lt"/>
              </a:rPr>
              <a:t>hasattr</a:t>
            </a:r>
            <a:r>
              <a:rPr lang="en-US" sz="2400" dirty="0">
                <a:latin typeface="+mj-lt"/>
              </a:rPr>
              <a:t>() ‐‐‐&gt; Check whether class has an attribute give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err="1">
                <a:latin typeface="+mj-lt"/>
              </a:rPr>
              <a:t>setattr</a:t>
            </a:r>
            <a:r>
              <a:rPr lang="en-US" sz="2400" dirty="0">
                <a:latin typeface="+mj-lt"/>
              </a:rPr>
              <a:t>() ‐‐‐&gt; Set new attribut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err="1">
                <a:latin typeface="+mj-lt"/>
              </a:rPr>
              <a:t>delattr</a:t>
            </a:r>
            <a:r>
              <a:rPr lang="en-US" sz="2400" dirty="0">
                <a:latin typeface="+mj-lt"/>
              </a:rPr>
              <a:t>() ‐‐‐&gt; Delete an attribute</a:t>
            </a:r>
          </a:p>
        </p:txBody>
      </p:sp>
    </p:spTree>
    <p:extLst>
      <p:ext uri="{BB962C8B-B14F-4D97-AF65-F5344CB8AC3E}">
        <p14:creationId xmlns:p14="http://schemas.microsoft.com/office/powerpoint/2010/main" val="1874678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getattr</a:t>
            </a:r>
            <a:r>
              <a:rPr lang="en-US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831" y="1853807"/>
            <a:ext cx="7189542" cy="395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601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hasattr</a:t>
            </a:r>
            <a:r>
              <a:rPr lang="en-US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94" y="1973682"/>
            <a:ext cx="8530608" cy="3778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472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setattr</a:t>
            </a:r>
            <a:r>
              <a:rPr lang="en-US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55" y="1837958"/>
            <a:ext cx="8086193" cy="3887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967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delattr</a:t>
            </a:r>
            <a:r>
              <a:rPr lang="en-US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5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7943" y="1505864"/>
            <a:ext cx="6615552" cy="4993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96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6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/>
            <a:r>
              <a:rPr lang="en-US" sz="4800" b="1" dirty="0">
                <a:solidFill>
                  <a:srgbClr val="252830"/>
                </a:solidFill>
                <a:latin typeface="Open Sans"/>
              </a:rPr>
              <a:t>Inheritance </a:t>
            </a:r>
            <a:r>
              <a:rPr lang="en-US" sz="4800" b="1" dirty="0" smtClean="0">
                <a:solidFill>
                  <a:srgbClr val="252830"/>
                </a:solidFill>
                <a:latin typeface="Open Sans"/>
              </a:rPr>
              <a:t>:</a:t>
            </a:r>
            <a:endParaRPr lang="en-US" sz="4800" b="1" dirty="0">
              <a:solidFill>
                <a:srgbClr val="252830"/>
              </a:solidFill>
              <a:latin typeface="Open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314546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Example1: Simple </a:t>
            </a:r>
            <a:r>
              <a:rPr lang="en-US" dirty="0">
                <a:solidFill>
                  <a:schemeClr val="bg1"/>
                </a:solidFill>
              </a:rPr>
              <a:t>Inherit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539" y="1899087"/>
            <a:ext cx="9750929" cy="4315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86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Example2: Multiple </a:t>
            </a:r>
            <a:r>
              <a:rPr lang="en-US" dirty="0">
                <a:solidFill>
                  <a:schemeClr val="bg1"/>
                </a:solidFill>
              </a:rPr>
              <a:t>Inherit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08"/>
          <a:stretch/>
        </p:blipFill>
        <p:spPr>
          <a:xfrm>
            <a:off x="627444" y="1706663"/>
            <a:ext cx="5857761" cy="51331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109"/>
          <a:stretch/>
        </p:blipFill>
        <p:spPr>
          <a:xfrm>
            <a:off x="6485205" y="2210324"/>
            <a:ext cx="7154735" cy="225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214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ENCAPSUL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2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645920" y="2574388"/>
            <a:ext cx="52894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YNTAX :</a:t>
            </a:r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__VARIABLE-NAME = VAL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2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3: Floa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62" y="1867925"/>
            <a:ext cx="10246388" cy="425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400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PROJECTS 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3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645920" y="2574388"/>
            <a:ext cx="52894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/>
              <a:t>FIZZBUZZ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JUMBLED WOR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78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FIZZBUZZ 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3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111348" y="2370211"/>
            <a:ext cx="528945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/>
              <a:t>INPUT A SET OF NUMBERS IN A LIST BY USER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/>
              <a:t>MULTIPLE OF 3 – FIZZ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/>
              <a:t>MULTIPLE OF 5 – BUZZ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/>
              <a:t>MULTIPLE OF 15 - FIZZBUZZ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22984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JUMBLED WORDS 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3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42536" y="2354244"/>
            <a:ext cx="630232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/>
              <a:t>INPUT A SET OF WORDS IN A LIST BY YOURSELF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/>
              <a:t>TAKE TWO PLAYER NAME INPU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/>
              <a:t>JUMBLE THE WORD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/>
              <a:t>CHECK WITH ORIGINAL WORD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000" smtClean="0"/>
              <a:t>BREAK WHEN THE PLAYER WANTS TO TERMINAT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80156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3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933768" y="301326"/>
            <a:ext cx="5646330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LLOW US ON :</a:t>
            </a:r>
            <a:endParaRPr lang="en-US" sz="5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31746" name="Picture 2" descr="Image result for instagram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468" y="1694987"/>
            <a:ext cx="2335237" cy="2335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8" name="Picture 4" descr="Image result for facebook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056" y="4446256"/>
            <a:ext cx="2062060" cy="2062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095265" y="2400940"/>
            <a:ext cx="308834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IN.TECKAT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095265" y="5015621"/>
            <a:ext cx="386080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TECKAT.COM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210793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 4: Complex Numb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943" y="1541418"/>
            <a:ext cx="79724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20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 5: Complex number using complex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936" y="2878894"/>
            <a:ext cx="10524128" cy="190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88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 6: Real &amp; Imaginary value of Complex Nu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554703"/>
            <a:ext cx="9782343" cy="2556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618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 7: Complex Number Lengt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66" y="2708983"/>
            <a:ext cx="10392655" cy="2045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033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5400" b="1" dirty="0"/>
              <a:t>TYPE CAST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1411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 8 : Casting(Integ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973" y="1940902"/>
            <a:ext cx="9130608" cy="3840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7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015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4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What is Python?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=""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3000" y="191839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8" name="TextBox 50">
            <a:extLst>
              <a:ext uri="{FF2B5EF4-FFF2-40B4-BE49-F238E27FC236}">
                <a16:creationId xmlns="" xmlns:a16="http://schemas.microsoft.com/office/drawing/2014/main" id="{52083644-4C45-46F8-8A1B-166DD8A45EA2}"/>
              </a:ext>
            </a:extLst>
          </p:cNvPr>
          <p:cNvSpPr txBox="1"/>
          <p:nvPr/>
        </p:nvSpPr>
        <p:spPr>
          <a:xfrm>
            <a:off x="620778" y="2621161"/>
            <a:ext cx="1762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/>
              <a:t>PYTHON</a:t>
            </a:r>
            <a:endParaRPr lang="en-US" sz="2000" b="1" dirty="0"/>
          </a:p>
        </p:txBody>
      </p:sp>
      <p:sp>
        <p:nvSpPr>
          <p:cNvPr id="69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620776" y="3104257"/>
            <a:ext cx="4693857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ython is a popular programming language. 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t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as created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 1991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y Guido van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ossu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600" dirty="0"/>
          </a:p>
        </p:txBody>
      </p:sp>
      <p:sp>
        <p:nvSpPr>
          <p:cNvPr id="82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=""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042" y="-581994"/>
            <a:ext cx="5570958" cy="709031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 flipV="1">
            <a:off x="1386059" y="1477106"/>
            <a:ext cx="1427479" cy="20335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95851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 9 : Casting(Float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7977" y="1720730"/>
            <a:ext cx="8448816" cy="4398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097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gram 10 : </a:t>
            </a:r>
            <a:r>
              <a:rPr lang="en-US" dirty="0" err="1">
                <a:solidFill>
                  <a:schemeClr val="bg1"/>
                </a:solidFill>
              </a:rPr>
              <a:t>Divmod</a:t>
            </a:r>
            <a:r>
              <a:rPr lang="en-US" dirty="0">
                <a:solidFill>
                  <a:schemeClr val="bg1"/>
                </a:solidFill>
              </a:rPr>
              <a:t>(</a:t>
            </a:r>
            <a:r>
              <a:rPr lang="en-US" dirty="0" err="1">
                <a:solidFill>
                  <a:schemeClr val="bg1"/>
                </a:solidFill>
              </a:rPr>
              <a:t>Int</a:t>
            </a:r>
            <a:r>
              <a:rPr lang="en-US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1042807" y="1720730"/>
            <a:ext cx="6849168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divmod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() built-in function returns both quotient and remainder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118" y="2332076"/>
            <a:ext cx="10450991" cy="2554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82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ERCI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1155348" y="2724154"/>
            <a:ext cx="8537292" cy="184665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Q.1.  Calculate the Value: ((2.56 X 10^5)+(5.22 X 10^4)5)*10</a:t>
            </a:r>
          </a:p>
          <a:p>
            <a:pPr>
              <a:lnSpc>
                <a:spcPct val="150000"/>
              </a:lnSpc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Q.2. Define two imaginary numbers and multiply them. Print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he real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value of the result</a:t>
            </a:r>
          </a:p>
        </p:txBody>
      </p:sp>
    </p:spTree>
    <p:extLst>
      <p:ext uri="{BB962C8B-B14F-4D97-AF65-F5344CB8AC3E}">
        <p14:creationId xmlns:p14="http://schemas.microsoft.com/office/powerpoint/2010/main" val="1998138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/>
            <a:r>
              <a:rPr lang="en-US" sz="5400" b="1" dirty="0">
                <a:solidFill>
                  <a:srgbClr val="252830"/>
                </a:solidFill>
                <a:latin typeface="Open Sans"/>
              </a:rPr>
              <a:t>Python Identifiers 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2823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ython Identifiers 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831791" y="1330879"/>
            <a:ext cx="8537292" cy="77970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 identifier is a name given to entities like class, functions, variables, etc. It helps to differentiate one entity from another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50">
            <a:extLst>
              <a:ext uri="{FF2B5EF4-FFF2-40B4-BE49-F238E27FC236}">
                <a16:creationId xmlns="" xmlns:a16="http://schemas.microsoft.com/office/drawing/2014/main" id="{52083644-4C45-46F8-8A1B-166DD8A45EA2}"/>
              </a:ext>
            </a:extLst>
          </p:cNvPr>
          <p:cNvSpPr txBox="1"/>
          <p:nvPr/>
        </p:nvSpPr>
        <p:spPr>
          <a:xfrm>
            <a:off x="831791" y="2206611"/>
            <a:ext cx="358546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/>
            <a:r>
              <a:rPr lang="en-US" sz="2000" b="1" dirty="0">
                <a:solidFill>
                  <a:srgbClr val="252830"/>
                </a:solidFill>
                <a:latin typeface="Open Sans"/>
              </a:rPr>
              <a:t>Rules for writing identifiers:</a:t>
            </a:r>
          </a:p>
        </p:txBody>
      </p:sp>
      <p:sp>
        <p:nvSpPr>
          <p:cNvPr id="10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609600" y="2719762"/>
            <a:ext cx="8537292" cy="438581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dentifiers can be a combination of letters in lowercase (a to z) or uppercase (A to Z) or digits (0 to 9) or an underscore _. Names lik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myClas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var_1 and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rint_this_to_scree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all are valid example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n identifier cannot start with a digit. 1variable is invalid, but variable1 is perfectly fine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Keywords cannot be used as identifier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e cannot use special symbols like !, @, #, $, % etc. in our identifier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dentifier can be of any length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196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/>
            <a:r>
              <a:rPr lang="en-US" sz="5400" b="1" dirty="0">
                <a:solidFill>
                  <a:srgbClr val="252830"/>
                </a:solidFill>
                <a:latin typeface="Open Sans"/>
              </a:rPr>
              <a:t>Sequence 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3831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154" y="482688"/>
            <a:ext cx="5509846" cy="775612"/>
          </a:xfrm>
        </p:spPr>
        <p:txBody>
          <a:bodyPr>
            <a:normAutofit/>
          </a:bodyPr>
          <a:lstStyle/>
          <a:p>
            <a:r>
              <a:rPr lang="en-US" dirty="0"/>
              <a:t>Sequence :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=""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3000" y="191839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2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=""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042" y="-581994"/>
            <a:ext cx="5570958" cy="7090310"/>
          </a:xfrm>
          <a:prstGeom prst="rect">
            <a:avLst/>
          </a:prstGeom>
        </p:spPr>
      </p:pic>
      <p:sp>
        <p:nvSpPr>
          <p:cNvPr id="12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1007642" y="2230482"/>
            <a:ext cx="5613400" cy="21587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/>
              <a:t>Str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/>
              <a:t>Lis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/>
              <a:t>Dictionar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/>
              <a:t>Tup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 flipV="1">
            <a:off x="1386059" y="1575582"/>
            <a:ext cx="1427479" cy="20335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348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quence 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1099077" y="2296571"/>
            <a:ext cx="8537292" cy="214751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tring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Dictionar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Tuple</a:t>
            </a:r>
          </a:p>
        </p:txBody>
      </p:sp>
    </p:spTree>
    <p:extLst>
      <p:ext uri="{BB962C8B-B14F-4D97-AF65-F5344CB8AC3E}">
        <p14:creationId xmlns:p14="http://schemas.microsoft.com/office/powerpoint/2010/main" val="337430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/>
            <a:r>
              <a:rPr lang="en-US" sz="5400" b="1" dirty="0" smtClean="0">
                <a:solidFill>
                  <a:srgbClr val="252830"/>
                </a:solidFill>
                <a:latin typeface="Open Sans"/>
              </a:rPr>
              <a:t>String :</a:t>
            </a:r>
            <a:endParaRPr lang="en-US" sz="5400" b="1" dirty="0">
              <a:solidFill>
                <a:srgbClr val="252830"/>
              </a:solidFill>
              <a:latin typeface="Open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832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mportant </a:t>
            </a:r>
            <a:r>
              <a:rPr lang="en-US" dirty="0" smtClean="0">
                <a:solidFill>
                  <a:schemeClr val="bg1"/>
                </a:solidFill>
              </a:rPr>
              <a:t>Points 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1014671" y="1505864"/>
            <a:ext cx="8537292" cy="480131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ython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as a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uilti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string class named "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r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2. String literals can be enclosed by either double or single quotes, although single quotes are more commonly used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3. A double quoted string literal can contain single quotes without any fuss (e.g. "I didn't do it") and likewise single quoted string can contain double quote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4. A string literal can span multiple lines, but there must be a backslash \ at the end of each line to escape the newline. String literals inside triple quotes, """ or ''', can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pan multiple lines of text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5. Python strings are "immutable" which means they cannot be changed after they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re created</a:t>
            </a:r>
          </a:p>
        </p:txBody>
      </p:sp>
    </p:spTree>
    <p:extLst>
      <p:ext uri="{BB962C8B-B14F-4D97-AF65-F5344CB8AC3E}">
        <p14:creationId xmlns:p14="http://schemas.microsoft.com/office/powerpoint/2010/main" val="193586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en-US" b="0" dirty="0" smtClean="0">
                <a:latin typeface="Arial" panose="020B0604020202020204" pitchFamily="34" charset="0"/>
                <a:cs typeface="Arial" panose="020B0604020202020204" pitchFamily="34" charset="0"/>
              </a:rPr>
              <a:t>APPLICATION :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=""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3000" y="191839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609600" y="1140738"/>
            <a:ext cx="4693857" cy="36933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latin typeface="Consolas" panose="020B0609020204030204" pitchFamily="49" charset="0"/>
                <a:cs typeface="Arial" panose="020B0604020202020204" pitchFamily="34" charset="0"/>
              </a:rPr>
              <a:t>Web development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latin typeface="Consolas" panose="020B0609020204030204" pitchFamily="49" charset="0"/>
                <a:cs typeface="Arial" panose="020B0604020202020204" pitchFamily="34" charset="0"/>
              </a:rPr>
              <a:t>Software development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latin typeface="Consolas" panose="020B0609020204030204" pitchFamily="49" charset="0"/>
                <a:cs typeface="Arial" panose="020B0604020202020204" pitchFamily="34" charset="0"/>
              </a:rPr>
              <a:t>Mathematic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latin typeface="Consolas" panose="020B0609020204030204" pitchFamily="49" charset="0"/>
                <a:cs typeface="Arial" panose="020B0604020202020204" pitchFamily="34" charset="0"/>
              </a:rPr>
              <a:t>System scripting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latin typeface="Consolas" panose="020B0609020204030204" pitchFamily="49" charset="0"/>
                <a:cs typeface="Arial" panose="020B0604020202020204" pitchFamily="34" charset="0"/>
              </a:rPr>
              <a:t>Computations and Analysis</a:t>
            </a:r>
          </a:p>
        </p:txBody>
      </p:sp>
      <p:sp>
        <p:nvSpPr>
          <p:cNvPr id="82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=""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042" y="-581994"/>
            <a:ext cx="5570958" cy="709031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 flipV="1">
            <a:off x="1386059" y="1463039"/>
            <a:ext cx="1427479" cy="20335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6146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capitalize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432900"/>
            <a:ext cx="10447208" cy="277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15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count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7350" y="2033587"/>
            <a:ext cx="8877300" cy="279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027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</a:t>
            </a:r>
            <a:r>
              <a:rPr lang="en-US" dirty="0" err="1">
                <a:solidFill>
                  <a:schemeClr val="bg1"/>
                </a:solidFill>
              </a:rPr>
              <a:t>endswith</a:t>
            </a:r>
            <a:r>
              <a:rPr lang="en-US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904" y="1942806"/>
            <a:ext cx="9051993" cy="3839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003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</a:t>
            </a:r>
            <a:r>
              <a:rPr lang="en-US" dirty="0" err="1">
                <a:solidFill>
                  <a:schemeClr val="bg1"/>
                </a:solidFill>
              </a:rPr>
              <a:t>startswith</a:t>
            </a:r>
            <a:r>
              <a:rPr lang="en-US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87" y="1961589"/>
            <a:ext cx="9614144" cy="357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62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index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2312" y="1966252"/>
            <a:ext cx="9528941" cy="377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928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find(): Returns the index of 0th index of the </a:t>
            </a:r>
            <a:r>
              <a:rPr lang="en-US" dirty="0" err="1">
                <a:solidFill>
                  <a:schemeClr val="bg1"/>
                </a:solidFill>
              </a:rPr>
              <a:t>searhing</a:t>
            </a:r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string within main str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366" y="2083143"/>
            <a:ext cx="9693417" cy="2942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413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mparison between index() and find() 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289538" y="2462544"/>
            <a:ext cx="802327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22222"/>
                </a:solidFill>
                <a:latin typeface="+mj-lt"/>
              </a:rPr>
              <a:t>The </a:t>
            </a:r>
            <a:r>
              <a:rPr lang="en-US" sz="2400" b="1" dirty="0">
                <a:solidFill>
                  <a:srgbClr val="222222"/>
                </a:solidFill>
                <a:latin typeface="+mj-lt"/>
              </a:rPr>
              <a:t>index</a:t>
            </a:r>
            <a:r>
              <a:rPr lang="en-US" sz="2400" dirty="0">
                <a:solidFill>
                  <a:srgbClr val="222222"/>
                </a:solidFill>
                <a:latin typeface="+mj-lt"/>
              </a:rPr>
              <a:t>() method is similar to </a:t>
            </a:r>
            <a:r>
              <a:rPr lang="en-US" sz="2400" b="1" dirty="0">
                <a:solidFill>
                  <a:srgbClr val="222222"/>
                </a:solidFill>
                <a:latin typeface="+mj-lt"/>
              </a:rPr>
              <a:t>find</a:t>
            </a:r>
            <a:r>
              <a:rPr lang="en-US" sz="2400" dirty="0">
                <a:solidFill>
                  <a:srgbClr val="222222"/>
                </a:solidFill>
                <a:latin typeface="+mj-lt"/>
              </a:rPr>
              <a:t>() method for strings. The only </a:t>
            </a:r>
            <a:r>
              <a:rPr lang="en-US" sz="2400" b="1" dirty="0">
                <a:solidFill>
                  <a:srgbClr val="222222"/>
                </a:solidFill>
                <a:latin typeface="+mj-lt"/>
              </a:rPr>
              <a:t>difference</a:t>
            </a:r>
            <a:r>
              <a:rPr lang="en-US" sz="2400" dirty="0">
                <a:solidFill>
                  <a:srgbClr val="222222"/>
                </a:solidFill>
                <a:latin typeface="+mj-lt"/>
              </a:rPr>
              <a:t> is that </a:t>
            </a:r>
            <a:r>
              <a:rPr lang="en-US" sz="2400" b="1" dirty="0">
                <a:solidFill>
                  <a:srgbClr val="222222"/>
                </a:solidFill>
                <a:latin typeface="+mj-lt"/>
              </a:rPr>
              <a:t>find</a:t>
            </a:r>
            <a:r>
              <a:rPr lang="en-US" sz="2400" dirty="0">
                <a:solidFill>
                  <a:srgbClr val="222222"/>
                </a:solidFill>
                <a:latin typeface="+mj-lt"/>
              </a:rPr>
              <a:t>() method returns -1 if the substring is not found, whereas </a:t>
            </a:r>
            <a:r>
              <a:rPr lang="en-US" sz="2400" b="1" dirty="0">
                <a:solidFill>
                  <a:srgbClr val="222222"/>
                </a:solidFill>
                <a:latin typeface="+mj-lt"/>
              </a:rPr>
              <a:t>index</a:t>
            </a:r>
            <a:r>
              <a:rPr lang="en-US" sz="2400" dirty="0">
                <a:solidFill>
                  <a:srgbClr val="222222"/>
                </a:solidFill>
                <a:latin typeface="+mj-lt"/>
              </a:rPr>
              <a:t>() throws an exception.</a:t>
            </a: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15250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</a:t>
            </a:r>
            <a:r>
              <a:rPr lang="en-US" dirty="0" err="1">
                <a:solidFill>
                  <a:schemeClr val="bg1"/>
                </a:solidFill>
              </a:rPr>
              <a:t>islower</a:t>
            </a:r>
            <a:r>
              <a:rPr lang="en-US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4260" y="2065386"/>
            <a:ext cx="9236407" cy="3575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362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</a:t>
            </a:r>
            <a:r>
              <a:rPr lang="en-US" dirty="0" err="1">
                <a:solidFill>
                  <a:schemeClr val="bg1"/>
                </a:solidFill>
              </a:rPr>
              <a:t>isupper</a:t>
            </a:r>
            <a:r>
              <a:rPr lang="en-US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47" y="1737757"/>
            <a:ext cx="10149334" cy="3918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12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lower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3" y="2002223"/>
            <a:ext cx="11426883" cy="3204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262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>
            <a:normAutofit/>
          </a:bodyPr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Why Python</a:t>
            </a:r>
            <a:r>
              <a:rPr lang="en-US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=""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3000" y="191839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398042" y="1022653"/>
            <a:ext cx="5613400" cy="541686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It is Dynamically typed means no need to declare the variable types</a:t>
            </a:r>
            <a:r>
              <a:rPr lang="en-US" sz="1600" dirty="0" smtClean="0">
                <a:latin typeface="Consolas" panose="020B0609020204030204" pitchFamily="49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works on different platforms (Windows, Mac, Linux, Raspberry Pi, </a:t>
            </a:r>
            <a:r>
              <a:rPr lang="en-US" sz="1600" dirty="0" err="1">
                <a:latin typeface="Consolas" panose="020B0609020204030204" pitchFamily="49" charset="0"/>
              </a:rPr>
              <a:t>etc</a:t>
            </a:r>
            <a:r>
              <a:rPr lang="en-US" sz="1600" dirty="0" smtClean="0">
                <a:latin typeface="Consolas" panose="020B0609020204030204" pitchFamily="49" charset="0"/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has a simple syntax similar to the English language</a:t>
            </a:r>
            <a:r>
              <a:rPr lang="en-US" sz="1600" dirty="0" smtClean="0">
                <a:latin typeface="Consolas" panose="020B0609020204030204" pitchFamily="49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has syntax that allows developers to write programs </a:t>
            </a:r>
            <a:r>
              <a:rPr lang="en-US" sz="1600" dirty="0" smtClean="0">
                <a:latin typeface="Consolas" panose="020B0609020204030204" pitchFamily="49" charset="0"/>
              </a:rPr>
              <a:t>with fewer </a:t>
            </a:r>
            <a:r>
              <a:rPr lang="en-US" sz="1600" dirty="0">
                <a:latin typeface="Consolas" panose="020B0609020204030204" pitchFamily="49" charset="0"/>
              </a:rPr>
              <a:t>lines than some other programming languages</a:t>
            </a:r>
            <a:r>
              <a:rPr lang="en-US" sz="1600" dirty="0" smtClean="0">
                <a:latin typeface="Consolas" panose="020B0609020204030204" pitchFamily="49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runs on an interpreter system, meaning that code can be executed as soon as it is written. This means that prototyping can be very quick</a:t>
            </a:r>
            <a:r>
              <a:rPr lang="en-US" sz="1600" dirty="0" smtClean="0">
                <a:latin typeface="Consolas" panose="020B0609020204030204" pitchFamily="49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can be treated in a procedural way, an object‐orientated way or a functional way.</a:t>
            </a:r>
            <a:endParaRPr lang="en-US" sz="1600" dirty="0"/>
          </a:p>
        </p:txBody>
      </p:sp>
      <p:sp>
        <p:nvSpPr>
          <p:cNvPr id="82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=""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042" y="-581994"/>
            <a:ext cx="5570958" cy="709031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 flipV="1">
            <a:off x="1386059" y="1237952"/>
            <a:ext cx="1427479" cy="20335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76243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upper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119386"/>
            <a:ext cx="10121794" cy="266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450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</a:t>
            </a:r>
            <a:r>
              <a:rPr lang="en-US" dirty="0" err="1">
                <a:solidFill>
                  <a:schemeClr val="bg1"/>
                </a:solidFill>
              </a:rPr>
              <a:t>swapcase</a:t>
            </a:r>
            <a:r>
              <a:rPr lang="en-US" dirty="0">
                <a:solidFill>
                  <a:schemeClr val="bg1"/>
                </a:solidFill>
              </a:rPr>
              <a:t>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64" y="2687509"/>
            <a:ext cx="10722471" cy="1734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41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stripp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362" y="1985444"/>
            <a:ext cx="9045137" cy="3711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60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replace(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267122"/>
            <a:ext cx="9999788" cy="2687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06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Split: Return a list by </a:t>
            </a:r>
            <a:r>
              <a:rPr lang="en-US" dirty="0" err="1">
                <a:solidFill>
                  <a:schemeClr val="bg1"/>
                </a:solidFill>
              </a:rPr>
              <a:t>spliting</a:t>
            </a:r>
            <a:r>
              <a:rPr lang="en-US" dirty="0">
                <a:solidFill>
                  <a:schemeClr val="bg1"/>
                </a:solidFill>
              </a:rPr>
              <a:t> the string at Whitespa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79" y="2018200"/>
            <a:ext cx="9457344" cy="3608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252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ing Slic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841" y="2151760"/>
            <a:ext cx="10533559" cy="2918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478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ERCI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754966" y="2179683"/>
            <a:ext cx="719328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Print your First name &amp; Last Name using User Input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Take any name </a:t>
            </a:r>
            <a:r>
              <a:rPr lang="en-US" sz="2000" dirty="0" err="1">
                <a:latin typeface="+mj-lt"/>
                <a:cs typeface="Arial" panose="020B0604020202020204" pitchFamily="34" charset="0"/>
              </a:rPr>
              <a:t>fror</a:t>
            </a:r>
            <a:r>
              <a:rPr lang="en-US" sz="2000" dirty="0">
                <a:latin typeface="+mj-lt"/>
                <a:cs typeface="Arial" panose="020B0604020202020204" pitchFamily="34" charset="0"/>
              </a:rPr>
              <a:t> user and search for the following: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      a) Starting character of the Name and print it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      b) Replace all the vowels of the Name with 'x'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      c) Count length of the Name</a:t>
            </a:r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61459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/>
            <a:r>
              <a:rPr lang="en-US" sz="5400" b="1" dirty="0" smtClean="0">
                <a:solidFill>
                  <a:srgbClr val="252830"/>
                </a:solidFill>
                <a:latin typeface="Open Sans"/>
              </a:rPr>
              <a:t>LIST :</a:t>
            </a:r>
            <a:endParaRPr lang="en-US" sz="5400" b="1" dirty="0">
              <a:solidFill>
                <a:srgbClr val="252830"/>
              </a:solidFill>
              <a:latin typeface="Open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03053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LIS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754966" y="2179683"/>
            <a:ext cx="7193280" cy="1891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The list type is a container that holds a number of other objects,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in a given order. The list type implements the sequence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protocol, and also allows you to add and remove objects from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the sequence.</a:t>
            </a:r>
          </a:p>
        </p:txBody>
      </p:sp>
    </p:spTree>
    <p:extLst>
      <p:ext uri="{BB962C8B-B14F-4D97-AF65-F5344CB8AC3E}">
        <p14:creationId xmlns:p14="http://schemas.microsoft.com/office/powerpoint/2010/main" val="4035527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reating a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232" y="1946250"/>
            <a:ext cx="8658225" cy="3781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889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6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>
            <a:normAutofit/>
          </a:bodyPr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Why Python</a:t>
            </a:r>
            <a:r>
              <a:rPr lang="en-US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=""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3000" y="191839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398042" y="1022653"/>
            <a:ext cx="5613400" cy="541686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It is Dynamically typed means no need to declare the variable types</a:t>
            </a:r>
            <a:r>
              <a:rPr lang="en-US" sz="1600" dirty="0" smtClean="0">
                <a:latin typeface="Consolas" panose="020B0609020204030204" pitchFamily="49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works on different platforms (Windows, Mac, Linux, Raspberry Pi, </a:t>
            </a:r>
            <a:r>
              <a:rPr lang="en-US" sz="1600" dirty="0" err="1">
                <a:latin typeface="Consolas" panose="020B0609020204030204" pitchFamily="49" charset="0"/>
              </a:rPr>
              <a:t>etc</a:t>
            </a:r>
            <a:r>
              <a:rPr lang="en-US" sz="1600" dirty="0" smtClean="0">
                <a:latin typeface="Consolas" panose="020B0609020204030204" pitchFamily="49" charset="0"/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has a simple syntax similar to the English language</a:t>
            </a:r>
            <a:r>
              <a:rPr lang="en-US" sz="1600" dirty="0" smtClean="0">
                <a:latin typeface="Consolas" panose="020B0609020204030204" pitchFamily="49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has syntax that allows developers to write programs </a:t>
            </a:r>
            <a:r>
              <a:rPr lang="en-US" sz="1600" dirty="0" smtClean="0">
                <a:latin typeface="Consolas" panose="020B0609020204030204" pitchFamily="49" charset="0"/>
              </a:rPr>
              <a:t>with fewer </a:t>
            </a:r>
            <a:r>
              <a:rPr lang="en-US" sz="1600" dirty="0">
                <a:latin typeface="Consolas" panose="020B0609020204030204" pitchFamily="49" charset="0"/>
              </a:rPr>
              <a:t>lines than some other programming languages</a:t>
            </a:r>
            <a:r>
              <a:rPr lang="en-US" sz="1600" dirty="0" smtClean="0">
                <a:latin typeface="Consolas" panose="020B0609020204030204" pitchFamily="49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runs on an interpreter system, meaning that code can be executed as soon as it is written. This means that prototyping can be very quick</a:t>
            </a:r>
            <a:r>
              <a:rPr lang="en-US" sz="1600" dirty="0" smtClean="0">
                <a:latin typeface="Consolas" panose="020B0609020204030204" pitchFamily="49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onsolas" panose="020B0609020204030204" pitchFamily="49" charset="0"/>
              </a:rPr>
              <a:t>Python can be treated in a procedural way, an object‐orientated way or a functional way.</a:t>
            </a:r>
            <a:endParaRPr lang="en-US" sz="1600" dirty="0"/>
          </a:p>
        </p:txBody>
      </p:sp>
      <p:sp>
        <p:nvSpPr>
          <p:cNvPr id="82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=""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042" y="-581994"/>
            <a:ext cx="5570958" cy="709031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 flipV="1">
            <a:off x="1386059" y="1252023"/>
            <a:ext cx="1427479" cy="20335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31102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inting List content/Ele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8" t="708" r="508" b="56180"/>
          <a:stretch/>
        </p:blipFill>
        <p:spPr>
          <a:xfrm>
            <a:off x="140756" y="1863282"/>
            <a:ext cx="7990450" cy="370876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996"/>
          <a:stretch/>
        </p:blipFill>
        <p:spPr>
          <a:xfrm>
            <a:off x="5286864" y="1720730"/>
            <a:ext cx="6739156" cy="4135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64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PPE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94" y="1720730"/>
            <a:ext cx="8311579" cy="4248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721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ppending a List to another List using extend comma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781" y="2319653"/>
            <a:ext cx="9248765" cy="183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630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hecking Index of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" y="1720730"/>
            <a:ext cx="7662203" cy="4228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201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ist Slic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509" y="1570189"/>
            <a:ext cx="6791576" cy="42043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085" y="1450148"/>
            <a:ext cx="4657725" cy="432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9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ength of a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970" y="1821236"/>
            <a:ext cx="11183358" cy="2666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365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nserting an element into particular inde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523" y="2273781"/>
            <a:ext cx="11010954" cy="2244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68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ist cou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683" y="2198076"/>
            <a:ext cx="10209798" cy="1701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91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Remove an element 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75" y="1720730"/>
            <a:ext cx="8692873" cy="3807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586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ist po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35" y="2214878"/>
            <a:ext cx="9592057" cy="207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574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0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>
            <a:normAutofit/>
          </a:bodyPr>
          <a:lstStyle/>
          <a:p>
            <a:r>
              <a:rPr lang="en-US" dirty="0"/>
              <a:t>Writing style of python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=""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3000" y="191839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410579" y="1894850"/>
            <a:ext cx="5613400" cy="31835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Consolas" panose="020B0609020204030204" pitchFamily="49" charset="0"/>
              </a:rPr>
              <a:t>Python relies on indentation, using whitespace, to define </a:t>
            </a:r>
            <a:r>
              <a:rPr lang="en-US" sz="2000" dirty="0" smtClean="0">
                <a:latin typeface="Consolas" panose="020B0609020204030204" pitchFamily="49" charset="0"/>
              </a:rPr>
              <a:t>scope</a:t>
            </a:r>
            <a:r>
              <a:rPr lang="en-US" sz="2000" dirty="0">
                <a:latin typeface="Consolas" panose="020B0609020204030204" pitchFamily="49" charset="0"/>
              </a:rPr>
              <a:t>; such as the scope of loops, functions and classes</a:t>
            </a:r>
            <a:r>
              <a:rPr lang="en-US" sz="2000" dirty="0" smtClean="0">
                <a:latin typeface="Consolas" panose="020B0609020204030204" pitchFamily="49" charset="0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dirty="0" smtClean="0">
              <a:latin typeface="Consolas" panose="020B0609020204030204" pitchFamily="49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onsolas" panose="020B0609020204030204" pitchFamily="49" charset="0"/>
              </a:rPr>
              <a:t>Other programming </a:t>
            </a:r>
            <a:r>
              <a:rPr lang="en-US" sz="2000" dirty="0">
                <a:latin typeface="Consolas" panose="020B0609020204030204" pitchFamily="49" charset="0"/>
              </a:rPr>
              <a:t>languages often </a:t>
            </a:r>
            <a:r>
              <a:rPr lang="en-US" sz="2000" dirty="0" smtClean="0">
                <a:latin typeface="Consolas" panose="020B0609020204030204" pitchFamily="49" charset="0"/>
              </a:rPr>
              <a:t>use curly‐brackets </a:t>
            </a:r>
            <a:r>
              <a:rPr lang="en-US" sz="2000" dirty="0">
                <a:latin typeface="Consolas" panose="020B0609020204030204" pitchFamily="49" charset="0"/>
              </a:rPr>
              <a:t>for this purpose.</a:t>
            </a:r>
            <a:endParaRPr lang="en-US" sz="2000" dirty="0"/>
          </a:p>
        </p:txBody>
      </p:sp>
      <p:sp>
        <p:nvSpPr>
          <p:cNvPr id="82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=""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042" y="-581994"/>
            <a:ext cx="5570958" cy="709031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 flipV="1">
            <a:off x="1386059" y="1561514"/>
            <a:ext cx="1427479" cy="20335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915643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ist rever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822" y="1768597"/>
            <a:ext cx="10425324" cy="2205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56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orting a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2" y="3610845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396" y="1887911"/>
            <a:ext cx="9925567" cy="2135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8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ist cop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983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090074"/>
            <a:ext cx="10372342" cy="218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7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lear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983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044307"/>
            <a:ext cx="11035436" cy="256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33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ist Dele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83" y="2104365"/>
            <a:ext cx="11382566" cy="1851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343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ERCI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839370" y="2124237"/>
            <a:ext cx="672904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+mj-lt"/>
                <a:cs typeface="Arial" panose="020B0604020202020204" pitchFamily="34" charset="0"/>
              </a:rPr>
              <a:t>1. Create a four lists of Four student database where</a:t>
            </a:r>
          </a:p>
          <a:p>
            <a:r>
              <a:rPr lang="en-US" sz="2400" dirty="0">
                <a:latin typeface="+mj-lt"/>
                <a:cs typeface="Arial" panose="020B0604020202020204" pitchFamily="34" charset="0"/>
              </a:rPr>
              <a:t>each </a:t>
            </a:r>
            <a:r>
              <a:rPr lang="en-US" sz="2400" dirty="0" smtClean="0">
                <a:latin typeface="+mj-lt"/>
                <a:cs typeface="Arial" panose="020B0604020202020204" pitchFamily="34" charset="0"/>
              </a:rPr>
              <a:t>separate </a:t>
            </a:r>
            <a:r>
              <a:rPr lang="en-US" sz="2400" dirty="0">
                <a:latin typeface="+mj-lt"/>
                <a:cs typeface="Arial" panose="020B0604020202020204" pitchFamily="34" charset="0"/>
              </a:rPr>
              <a:t>list contains their Name, Roll, Stream,</a:t>
            </a:r>
          </a:p>
          <a:p>
            <a:r>
              <a:rPr lang="en-US" sz="2400" dirty="0">
                <a:latin typeface="+mj-lt"/>
                <a:cs typeface="Arial" panose="020B0604020202020204" pitchFamily="34" charset="0"/>
              </a:rPr>
              <a:t>Year</a:t>
            </a:r>
            <a:r>
              <a:rPr lang="en-US" sz="2400" dirty="0" smtClean="0">
                <a:latin typeface="+mj-lt"/>
                <a:cs typeface="Arial" panose="020B0604020202020204" pitchFamily="34" charset="0"/>
              </a:rPr>
              <a:t>. Input </a:t>
            </a:r>
            <a:r>
              <a:rPr lang="en-US" sz="2400" dirty="0">
                <a:latin typeface="+mj-lt"/>
                <a:cs typeface="Arial" panose="020B0604020202020204" pitchFamily="34" charset="0"/>
              </a:rPr>
              <a:t>should be taken from user</a:t>
            </a:r>
            <a:r>
              <a:rPr lang="en-US" sz="2400" dirty="0" smtClean="0">
                <a:latin typeface="+mj-lt"/>
                <a:cs typeface="Arial" panose="020B0604020202020204" pitchFamily="34" charset="0"/>
              </a:rPr>
              <a:t>.</a:t>
            </a:r>
          </a:p>
          <a:p>
            <a:endParaRPr lang="en-US" sz="2400" dirty="0">
              <a:latin typeface="+mj-lt"/>
              <a:cs typeface="Arial" panose="020B0604020202020204" pitchFamily="34" charset="0"/>
            </a:endParaRPr>
          </a:p>
          <a:p>
            <a:r>
              <a:rPr lang="en-US" dirty="0" err="1">
                <a:latin typeface="+mj-lt"/>
                <a:cs typeface="Arial" panose="020B0604020202020204" pitchFamily="34" charset="0"/>
              </a:rPr>
              <a:t>eg</a:t>
            </a:r>
            <a:r>
              <a:rPr lang="en-US" dirty="0">
                <a:latin typeface="+mj-lt"/>
                <a:cs typeface="Arial" panose="020B0604020202020204" pitchFamily="34" charset="0"/>
              </a:rPr>
              <a:t>.‐ list1=["name‐1","name‐2","name‐3",name‐4"]</a:t>
            </a:r>
          </a:p>
          <a:p>
            <a:r>
              <a:rPr lang="en-US" dirty="0">
                <a:latin typeface="+mj-lt"/>
                <a:cs typeface="Arial" panose="020B0604020202020204" pitchFamily="34" charset="0"/>
              </a:rPr>
              <a:t>list2=["Roll‐1","Roll‐2","Roll‐3","Roll‐4"]</a:t>
            </a:r>
          </a:p>
          <a:p>
            <a:r>
              <a:rPr lang="en-US" dirty="0">
                <a:latin typeface="+mj-lt"/>
                <a:cs typeface="Arial" panose="020B0604020202020204" pitchFamily="34" charset="0"/>
              </a:rPr>
              <a:t>.........</a:t>
            </a: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66913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/>
            <a:r>
              <a:rPr lang="en-US" sz="5400" b="1" dirty="0" smtClean="0">
                <a:solidFill>
                  <a:srgbClr val="252830"/>
                </a:solidFill>
                <a:latin typeface="Open Sans"/>
              </a:rPr>
              <a:t>TUPLE :</a:t>
            </a:r>
            <a:endParaRPr lang="en-US" sz="5400" b="1" dirty="0">
              <a:solidFill>
                <a:srgbClr val="252830"/>
              </a:solidFill>
              <a:latin typeface="Open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15838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UP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609600" y="1908546"/>
            <a:ext cx="843123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latin typeface="+mj-lt"/>
                <a:cs typeface="Arial" panose="020B0604020202020204" pitchFamily="34" charset="0"/>
              </a:rPr>
              <a:t>A tuple is a sequence of values much like a list. The values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+mj-lt"/>
                <a:cs typeface="Arial" panose="020B0604020202020204" pitchFamily="34" charset="0"/>
              </a:rPr>
              <a:t>stored in a tuple can be any type, and they are indexed by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+mj-lt"/>
                <a:cs typeface="Arial" panose="020B0604020202020204" pitchFamily="34" charset="0"/>
              </a:rPr>
              <a:t>integers. The important difference is that tuples are immutable.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+mj-lt"/>
                <a:cs typeface="Arial" panose="020B0604020202020204" pitchFamily="34" charset="0"/>
              </a:rPr>
              <a:t>Tuples are also comparable and </a:t>
            </a:r>
            <a:r>
              <a:rPr lang="en-US" sz="2400" dirty="0" err="1">
                <a:latin typeface="+mj-lt"/>
                <a:cs typeface="Arial" panose="020B0604020202020204" pitchFamily="34" charset="0"/>
              </a:rPr>
              <a:t>hashable</a:t>
            </a:r>
            <a:r>
              <a:rPr lang="en-US" sz="2400" dirty="0">
                <a:latin typeface="+mj-lt"/>
                <a:cs typeface="Arial" panose="020B0604020202020204" pitchFamily="34" charset="0"/>
              </a:rPr>
              <a:t> so we can sort lists of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+mj-lt"/>
                <a:cs typeface="Arial" panose="020B0604020202020204" pitchFamily="34" charset="0"/>
              </a:rPr>
              <a:t>them and use tuples as key values in Python dictionaries.</a:t>
            </a: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72372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reating Tup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975" y="2725898"/>
            <a:ext cx="5525063" cy="1452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509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uple examp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" y="2348234"/>
            <a:ext cx="11841567" cy="2069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88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8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325" y="305059"/>
            <a:ext cx="10972800" cy="775612"/>
          </a:xfrm>
        </p:spPr>
        <p:txBody>
          <a:bodyPr>
            <a:normAutofit/>
          </a:bodyPr>
          <a:lstStyle/>
          <a:p>
            <a:r>
              <a:rPr lang="en-US" dirty="0"/>
              <a:t>IDLE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=""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3000" y="191839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410579" y="1499482"/>
            <a:ext cx="5613400" cy="53585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NTEGERATED DEVELOPMENT AND LEARNING </a:t>
            </a:r>
            <a:r>
              <a:rPr lang="en-US" dirty="0" smtClean="0"/>
              <a:t>ENVIRON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n python IDLE is by default in windows but not available at Linux</a:t>
            </a:r>
            <a:r>
              <a:rPr lang="en-US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o install at Linux we use :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      </a:t>
            </a:r>
            <a:r>
              <a:rPr lang="en-US" dirty="0" err="1" smtClean="0"/>
              <a:t>sudo</a:t>
            </a:r>
            <a:r>
              <a:rPr lang="en-US" dirty="0" smtClean="0"/>
              <a:t> </a:t>
            </a:r>
            <a:r>
              <a:rPr lang="en-US" dirty="0"/>
              <a:t>apt-get install </a:t>
            </a:r>
            <a:r>
              <a:rPr lang="en-US" dirty="0" smtClean="0"/>
              <a:t>idle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DLE is basically used to execute single statement like – python shell and also to create modify and execute python script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2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=""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042" y="-581994"/>
            <a:ext cx="5570958" cy="709031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 flipV="1">
            <a:off x="541995" y="1237957"/>
            <a:ext cx="1427479" cy="20335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678070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uple index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10" y="1720730"/>
            <a:ext cx="10795458" cy="476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3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cing of Tup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513" y="2049952"/>
            <a:ext cx="11256887" cy="2268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409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eleting Tup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776" y="1505864"/>
            <a:ext cx="8648700" cy="522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687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uple element cou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417750"/>
            <a:ext cx="11648395" cy="144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49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4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/>
            <a:r>
              <a:rPr lang="en-US" sz="5400" b="1" dirty="0" smtClean="0">
                <a:solidFill>
                  <a:srgbClr val="252830"/>
                </a:solidFill>
                <a:latin typeface="Open Sans"/>
              </a:rPr>
              <a:t>DICTIONARY :</a:t>
            </a:r>
            <a:endParaRPr lang="en-US" sz="5400" b="1" dirty="0">
              <a:solidFill>
                <a:srgbClr val="252830"/>
              </a:solidFill>
              <a:latin typeface="Open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5978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DICTIONAR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609600" y="2400411"/>
            <a:ext cx="816395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latin typeface="+mj-lt"/>
                <a:cs typeface="Arial" panose="020B0604020202020204" pitchFamily="34" charset="0"/>
              </a:rPr>
              <a:t>Dictionary is actually a type of Hash Table. dictionaries are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+mj-lt"/>
                <a:cs typeface="Arial" panose="020B0604020202020204" pitchFamily="34" charset="0"/>
              </a:rPr>
              <a:t>indexed by keys, which can be any immutable type; strings and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+mj-lt"/>
                <a:cs typeface="Arial" panose="020B0604020202020204" pitchFamily="34" charset="0"/>
              </a:rPr>
              <a:t>numbers can always be keys. Tuples can be used as keys if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+mj-lt"/>
                <a:cs typeface="Arial" panose="020B0604020202020204" pitchFamily="34" charset="0"/>
              </a:rPr>
              <a:t>they contain only strings, numbers, or tuples</a:t>
            </a: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151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yntax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609600" y="1948121"/>
            <a:ext cx="3892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0" i="0" u="none" strike="noStrike" baseline="0" dirty="0" err="1" smtClean="0">
                <a:latin typeface="+mj-lt"/>
                <a:cs typeface="Arial" panose="020B0604020202020204" pitchFamily="34" charset="0"/>
              </a:rPr>
              <a:t>dict_name</a:t>
            </a:r>
            <a:r>
              <a:rPr lang="en-US" sz="2400" b="0" i="0" u="none" strike="noStrike" baseline="0" dirty="0" smtClean="0">
                <a:latin typeface="+mj-lt"/>
                <a:cs typeface="Arial" panose="020B0604020202020204" pitchFamily="34" charset="0"/>
              </a:rPr>
              <a:t>={</a:t>
            </a:r>
            <a:r>
              <a:rPr lang="en-US" sz="2400" b="0" i="0" u="none" strike="noStrike" baseline="0" dirty="0" err="1" smtClean="0">
                <a:latin typeface="+mj-lt"/>
                <a:cs typeface="Arial" panose="020B0604020202020204" pitchFamily="34" charset="0"/>
              </a:rPr>
              <a:t>key_name:value</a:t>
            </a:r>
            <a:r>
              <a:rPr lang="en-US" sz="2400" b="0" i="0" u="none" strike="noStrike" baseline="0" dirty="0" smtClean="0">
                <a:latin typeface="+mj-lt"/>
                <a:cs typeface="Arial" panose="020B0604020202020204" pitchFamily="34" charset="0"/>
              </a:rPr>
              <a:t>}</a:t>
            </a:r>
            <a:endParaRPr lang="en-US" sz="2400" dirty="0">
              <a:latin typeface="+mj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9600" y="3002302"/>
            <a:ext cx="40495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0" u="none" strike="noStrike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Creating Empty Dictionary</a:t>
            </a:r>
            <a:endParaRPr lang="en-US" sz="2400" b="1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" y="3881939"/>
            <a:ext cx="10483537" cy="150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713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ccessing Key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205" y="2203703"/>
            <a:ext cx="11677590" cy="1752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12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ccessing Valu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329431"/>
            <a:ext cx="5185011" cy="164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61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reating Dictionary #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48" y="1720730"/>
            <a:ext cx="6229350" cy="48482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9776" y="1720730"/>
            <a:ext cx="5867400" cy="506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195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4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772" y="398058"/>
            <a:ext cx="10972800" cy="775612"/>
          </a:xfrm>
        </p:spPr>
        <p:txBody>
          <a:bodyPr>
            <a:normAutofit/>
          </a:bodyPr>
          <a:lstStyle/>
          <a:p>
            <a:r>
              <a:rPr lang="en-US" dirty="0" smtClean="0"/>
              <a:t>LET’S START PROGRAMMING :</a:t>
            </a:r>
            <a:endParaRPr lang="en-US" dirty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=""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23000" y="191839"/>
            <a:ext cx="4590128" cy="5207491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TextBox 48">
            <a:extLst>
              <a:ext uri="{FF2B5EF4-FFF2-40B4-BE49-F238E27FC236}">
                <a16:creationId xmlns=""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1693776" y="3278038"/>
            <a:ext cx="5613400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print(“Hello World!”)</a:t>
            </a:r>
          </a:p>
        </p:txBody>
      </p:sp>
      <p:sp>
        <p:nvSpPr>
          <p:cNvPr id="82" name="Rectangle 34">
            <a:extLst>
              <a:ext uri="{FF2B5EF4-FFF2-40B4-BE49-F238E27FC236}">
                <a16:creationId xmlns=""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=""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042" y="-581994"/>
            <a:ext cx="5570958" cy="7090310"/>
          </a:xfrm>
          <a:prstGeom prst="rect">
            <a:avLst/>
          </a:prstGeom>
        </p:spPr>
      </p:pic>
      <p:sp>
        <p:nvSpPr>
          <p:cNvPr id="11" name="TextBox 50">
            <a:extLst>
              <a:ext uri="{FF2B5EF4-FFF2-40B4-BE49-F238E27FC236}">
                <a16:creationId xmlns="" xmlns:a16="http://schemas.microsoft.com/office/drawing/2014/main" id="{52083644-4C45-46F8-8A1B-166DD8A45EA2}"/>
              </a:ext>
            </a:extLst>
          </p:cNvPr>
          <p:cNvSpPr txBox="1"/>
          <p:nvPr/>
        </p:nvSpPr>
        <p:spPr>
          <a:xfrm>
            <a:off x="1693776" y="2767683"/>
            <a:ext cx="1762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/>
              <a:t>HELLO WORLD!!</a:t>
            </a:r>
            <a:endParaRPr lang="en-US" sz="2000" b="1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 flipV="1">
            <a:off x="1386059" y="1575582"/>
            <a:ext cx="1427479" cy="20335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680964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py a Diction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085" y="1870975"/>
            <a:ext cx="7666543" cy="4065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90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Remove any specific item from diction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764643"/>
            <a:ext cx="11211972" cy="2751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03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Updating the dictionary with the elements from the another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dictionary object or from an </a:t>
            </a:r>
            <a:r>
              <a:rPr lang="en-US" dirty="0" err="1">
                <a:solidFill>
                  <a:schemeClr val="bg1"/>
                </a:solidFill>
              </a:rPr>
              <a:t>iterable</a:t>
            </a:r>
            <a:r>
              <a:rPr lang="en-US" dirty="0">
                <a:solidFill>
                  <a:schemeClr val="bg1"/>
                </a:solidFill>
              </a:rPr>
              <a:t> of key/value pai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220" y="1634412"/>
            <a:ext cx="8497292" cy="4864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239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eleting a Key from Diction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720730"/>
            <a:ext cx="7118839" cy="466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495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lear all content of Diction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307" y="1949155"/>
            <a:ext cx="10784650" cy="200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625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eleting Dictionary memory allo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5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599" y="1720730"/>
            <a:ext cx="8687841" cy="3864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098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6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/>
            <a:r>
              <a:rPr lang="en-US" sz="4800" b="1" dirty="0">
                <a:solidFill>
                  <a:srgbClr val="252830"/>
                </a:solidFill>
                <a:latin typeface="Open Sans"/>
              </a:rPr>
              <a:t>OPERATORS AND EXPRESSIONS 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63293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OPERATORS AND EXPRESSIONS 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609600" y="2207680"/>
            <a:ext cx="6096000" cy="19645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Arithmetic operators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Comparison operators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Logical operators</a:t>
            </a:r>
          </a:p>
        </p:txBody>
      </p:sp>
    </p:spTree>
    <p:extLst>
      <p:ext uri="{BB962C8B-B14F-4D97-AF65-F5344CB8AC3E}">
        <p14:creationId xmlns:p14="http://schemas.microsoft.com/office/powerpoint/2010/main" val="196669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rithmetic opera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609600" y="1505864"/>
            <a:ext cx="7634068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+	addit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-	subtract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*	multiplicat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/	divis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%	modulo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**	Exponentiation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/>
              <a:t>// 	Floor Division (also called Integer Division)</a:t>
            </a:r>
          </a:p>
        </p:txBody>
      </p:sp>
    </p:spTree>
    <p:extLst>
      <p:ext uri="{BB962C8B-B14F-4D97-AF65-F5344CB8AC3E}">
        <p14:creationId xmlns:p14="http://schemas.microsoft.com/office/powerpoint/2010/main" val="433421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AMP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8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2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046" y="1355604"/>
            <a:ext cx="8151111" cy="5226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6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5400" b="1" dirty="0"/>
              <a:t>BASIC DATA TYPES AND ASSIGNMENTS 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AMP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0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164" y="1505863"/>
            <a:ext cx="10151348" cy="4107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49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mparison Opera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1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371" y="1522620"/>
            <a:ext cx="7110276" cy="5335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121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AMP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2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520985"/>
            <a:ext cx="7454212" cy="4950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268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ogical Opera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3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818" y="1917678"/>
            <a:ext cx="9495099" cy="4229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187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ogical Opera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4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818" y="1917678"/>
            <a:ext cx="9495099" cy="4229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593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3584090"/>
            <a:ext cx="5225757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/>
            <a:r>
              <a:rPr lang="en-US" sz="5400" b="1" dirty="0">
                <a:solidFill>
                  <a:srgbClr val="252830"/>
                </a:solidFill>
                <a:latin typeface="Open Sans"/>
              </a:rPr>
              <a:t>Control structure 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3312175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5894" y="-720493"/>
            <a:ext cx="5570958" cy="7090310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52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743243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ntrol structure 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6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228578" y="2034285"/>
            <a:ext cx="1574470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 smtClean="0"/>
              <a:t>  if-else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 smtClean="0"/>
              <a:t>  For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800" dirty="0" smtClean="0"/>
              <a:t>  While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447914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If-else 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7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09600" y="1815262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dirty="0" smtClean="0"/>
              <a:t>if test expression:</a:t>
            </a:r>
          </a:p>
          <a:p>
            <a:r>
              <a:rPr lang="en-US" sz="2400" dirty="0" smtClean="0"/>
              <a:t>    statement(s)</a:t>
            </a:r>
            <a:endParaRPr lang="en-US" sz="2400" dirty="0"/>
          </a:p>
        </p:txBody>
      </p:sp>
      <p:sp>
        <p:nvSpPr>
          <p:cNvPr id="10" name="Rectangle 9"/>
          <p:cNvSpPr/>
          <p:nvPr/>
        </p:nvSpPr>
        <p:spPr>
          <a:xfrm>
            <a:off x="518965" y="3417167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Here, the program evaluates the test expression and will execute statement(s) only if the text expression is Tru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If the text expression is False, the statement(s) is not executed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97397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nditions with if stat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8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519098"/>
            <a:ext cx="10262668" cy="330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294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=""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nditions with if-else stat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7349B2-862C-48AC-BCAD-E05E40E4A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99</a:t>
            </a:fld>
            <a:endParaRPr lang="en-US" dirty="0"/>
          </a:p>
        </p:txBody>
      </p:sp>
      <p:sp>
        <p:nvSpPr>
          <p:cNvPr id="93" name="Rectangle 34">
            <a:extLst>
              <a:ext uri="{FF2B5EF4-FFF2-40B4-BE49-F238E27FC236}">
                <a16:creationId xmlns=""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175814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052792"/>
            <a:ext cx="11180596" cy="336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662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Zw2iL.2yQ.KwK62gA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rGeVB2J0.11dNmX_wK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BZtSHR3OuSJzhCtKm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0">
      <a:dk1>
        <a:sysClr val="windowText" lastClr="02A2EE"/>
      </a:dk1>
      <a:lt1>
        <a:sysClr val="window" lastClr="FFFFFF"/>
      </a:lt1>
      <a:dk2>
        <a:srgbClr val="44546A"/>
      </a:dk2>
      <a:lt2>
        <a:srgbClr val="E7E6E6"/>
      </a:lt2>
      <a:accent1>
        <a:srgbClr val="652D74"/>
      </a:accent1>
      <a:accent2>
        <a:srgbClr val="A53975"/>
      </a:accent2>
      <a:accent3>
        <a:srgbClr val="1F8492"/>
      </a:accent3>
      <a:accent4>
        <a:srgbClr val="DBCBD8"/>
      </a:accent4>
      <a:accent5>
        <a:srgbClr val="564787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2A2EE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3</TotalTime>
  <Words>2466</Words>
  <Application>Microsoft Office PowerPoint</Application>
  <PresentationFormat>Widescreen</PresentationFormat>
  <Paragraphs>692</Paragraphs>
  <Slides>133</Slides>
  <Notes>13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3</vt:i4>
      </vt:variant>
    </vt:vector>
  </HeadingPairs>
  <TitlesOfParts>
    <vt:vector size="139" baseType="lpstr">
      <vt:lpstr>Arial</vt:lpstr>
      <vt:lpstr>Calibri</vt:lpstr>
      <vt:lpstr>Consolas</vt:lpstr>
      <vt:lpstr>Open Sans</vt:lpstr>
      <vt:lpstr>Office Theme</vt:lpstr>
      <vt:lpstr>think-cell Slide</vt:lpstr>
      <vt:lpstr>PowerPoint Presentation</vt:lpstr>
      <vt:lpstr>What is Python?</vt:lpstr>
      <vt:lpstr>APPLICATION :</vt:lpstr>
      <vt:lpstr>Why Python?</vt:lpstr>
      <vt:lpstr>Why Python?</vt:lpstr>
      <vt:lpstr>Writing style of python</vt:lpstr>
      <vt:lpstr>IDLE</vt:lpstr>
      <vt:lpstr>LET’S START PROGRAMMING :</vt:lpstr>
      <vt:lpstr>PowerPoint Presentation</vt:lpstr>
      <vt:lpstr>BASIC DATA TYPES  AND  ASSIGNMENTS</vt:lpstr>
      <vt:lpstr>Program1: Initializing Variable :</vt:lpstr>
      <vt:lpstr>Program 2: integers</vt:lpstr>
      <vt:lpstr>Program3: Float</vt:lpstr>
      <vt:lpstr>Program 4: Complex Number</vt:lpstr>
      <vt:lpstr>Program 5: Complex number using complex()</vt:lpstr>
      <vt:lpstr>Program 6: Real &amp; Imaginary value of Complex Numbers</vt:lpstr>
      <vt:lpstr>Program 7: Complex Number Length</vt:lpstr>
      <vt:lpstr>PowerPoint Presentation</vt:lpstr>
      <vt:lpstr>Program 8 : Casting(Integer)</vt:lpstr>
      <vt:lpstr>Program 9 : Casting(Float)</vt:lpstr>
      <vt:lpstr>Program 10 : Divmod(Int)</vt:lpstr>
      <vt:lpstr>EXERCISE</vt:lpstr>
      <vt:lpstr>PowerPoint Presentation</vt:lpstr>
      <vt:lpstr>Python Identifiers :</vt:lpstr>
      <vt:lpstr>PowerPoint Presentation</vt:lpstr>
      <vt:lpstr>Sequence :</vt:lpstr>
      <vt:lpstr>Sequence :</vt:lpstr>
      <vt:lpstr>PowerPoint Presentation</vt:lpstr>
      <vt:lpstr>Important Points :</vt:lpstr>
      <vt:lpstr>String capitalize()</vt:lpstr>
      <vt:lpstr>String count()</vt:lpstr>
      <vt:lpstr>String endswith()</vt:lpstr>
      <vt:lpstr>String startswith()</vt:lpstr>
      <vt:lpstr>String index()</vt:lpstr>
      <vt:lpstr>String find(): Returns the index of 0th index of the searhing string within main string</vt:lpstr>
      <vt:lpstr>Comparison between index() and find() :</vt:lpstr>
      <vt:lpstr>String islower()</vt:lpstr>
      <vt:lpstr>String isupper()</vt:lpstr>
      <vt:lpstr>String lower()</vt:lpstr>
      <vt:lpstr>String upper()</vt:lpstr>
      <vt:lpstr>String swapcase()</vt:lpstr>
      <vt:lpstr>String stripping</vt:lpstr>
      <vt:lpstr>String replace()</vt:lpstr>
      <vt:lpstr>String Split: Return a list by spliting the string at Whitespace</vt:lpstr>
      <vt:lpstr>String Slicing</vt:lpstr>
      <vt:lpstr>EXERCISE</vt:lpstr>
      <vt:lpstr>PowerPoint Presentation</vt:lpstr>
      <vt:lpstr>LIST</vt:lpstr>
      <vt:lpstr>Creating a List</vt:lpstr>
      <vt:lpstr>Printing List content/Elements</vt:lpstr>
      <vt:lpstr>APPEND</vt:lpstr>
      <vt:lpstr>Appending a List to another List using extend command</vt:lpstr>
      <vt:lpstr>Checking Index of List</vt:lpstr>
      <vt:lpstr>List Slicing</vt:lpstr>
      <vt:lpstr>Length of a list</vt:lpstr>
      <vt:lpstr>Inserting an element into particular index</vt:lpstr>
      <vt:lpstr>List count</vt:lpstr>
      <vt:lpstr>Remove an element :</vt:lpstr>
      <vt:lpstr>List pop</vt:lpstr>
      <vt:lpstr>List reverse</vt:lpstr>
      <vt:lpstr>Sorting a list</vt:lpstr>
      <vt:lpstr>List copy</vt:lpstr>
      <vt:lpstr>Clear List</vt:lpstr>
      <vt:lpstr>List Delete</vt:lpstr>
      <vt:lpstr>EXERCISE</vt:lpstr>
      <vt:lpstr>PowerPoint Presentation</vt:lpstr>
      <vt:lpstr>TUPLE</vt:lpstr>
      <vt:lpstr>Creating Tuple</vt:lpstr>
      <vt:lpstr>Tuple example</vt:lpstr>
      <vt:lpstr>Tuple indexing</vt:lpstr>
      <vt:lpstr>Slicing of Tuple</vt:lpstr>
      <vt:lpstr>Deleting Tuple</vt:lpstr>
      <vt:lpstr>Tuple element count</vt:lpstr>
      <vt:lpstr>PowerPoint Presentation</vt:lpstr>
      <vt:lpstr>DICTIONARY</vt:lpstr>
      <vt:lpstr>Syntax:</vt:lpstr>
      <vt:lpstr>Accessing Keys</vt:lpstr>
      <vt:lpstr>Accessing Values</vt:lpstr>
      <vt:lpstr>Creating Dictionary #1</vt:lpstr>
      <vt:lpstr>Copy a Dictionary</vt:lpstr>
      <vt:lpstr>Remove any specific item from dictionary</vt:lpstr>
      <vt:lpstr>Updating the dictionary with the elements from the another dictionary object or from an iterable of key/value pairs</vt:lpstr>
      <vt:lpstr>Deleting a Key from Dictionary</vt:lpstr>
      <vt:lpstr>Clear all content of Dictionary</vt:lpstr>
      <vt:lpstr>Deleting Dictionary memory allocation</vt:lpstr>
      <vt:lpstr>PowerPoint Presentation</vt:lpstr>
      <vt:lpstr>OPERATORS AND EXPRESSIONS :</vt:lpstr>
      <vt:lpstr>Arithmetic operators</vt:lpstr>
      <vt:lpstr>EXAMPLES</vt:lpstr>
      <vt:lpstr>EXAMPLES</vt:lpstr>
      <vt:lpstr>Comparison Operators</vt:lpstr>
      <vt:lpstr>EXAMPLES</vt:lpstr>
      <vt:lpstr>Logical Operators</vt:lpstr>
      <vt:lpstr>Logical Operators</vt:lpstr>
      <vt:lpstr>PowerPoint Presentation</vt:lpstr>
      <vt:lpstr>Control structure :</vt:lpstr>
      <vt:lpstr>If-else :</vt:lpstr>
      <vt:lpstr>Conditions with if statement</vt:lpstr>
      <vt:lpstr>Conditions with if-else statement</vt:lpstr>
      <vt:lpstr>Python if...elif...else Statement</vt:lpstr>
      <vt:lpstr>For loop example1</vt:lpstr>
      <vt:lpstr>For loop example2</vt:lpstr>
      <vt:lpstr>For loop example3</vt:lpstr>
      <vt:lpstr>For loop example4</vt:lpstr>
      <vt:lpstr>For Loop Example5</vt:lpstr>
      <vt:lpstr>While Loop Example</vt:lpstr>
      <vt:lpstr>PowerPoint Presentation</vt:lpstr>
      <vt:lpstr>Python Function</vt:lpstr>
      <vt:lpstr>Basic Syntax</vt:lpstr>
      <vt:lpstr>Procedure </vt:lpstr>
      <vt:lpstr>Program1: defining a Function</vt:lpstr>
      <vt:lpstr>Program2: Calling a Function</vt:lpstr>
      <vt:lpstr>Program3: Using Scope Variables</vt:lpstr>
      <vt:lpstr>EXERCISE</vt:lpstr>
      <vt:lpstr>PowerPoint Presentation</vt:lpstr>
      <vt:lpstr>Creating Class and Object</vt:lpstr>
      <vt:lpstr>About using "self" in Python:</vt:lpstr>
      <vt:lpstr>Sending parameters:</vt:lpstr>
      <vt:lpstr>Creating Function in Class</vt:lpstr>
      <vt:lpstr>Creating Multiple Function in Class</vt:lpstr>
      <vt:lpstr>Checking Attributes:</vt:lpstr>
      <vt:lpstr>getattr()</vt:lpstr>
      <vt:lpstr>hasattr()</vt:lpstr>
      <vt:lpstr>setattr()</vt:lpstr>
      <vt:lpstr>delattr()</vt:lpstr>
      <vt:lpstr>PowerPoint Presentation</vt:lpstr>
      <vt:lpstr>Example1: Simple Inheritance</vt:lpstr>
      <vt:lpstr>Example2: Multiple Inheritance</vt:lpstr>
      <vt:lpstr>ENCAPSULATION</vt:lpstr>
      <vt:lpstr>PROJECTS :</vt:lpstr>
      <vt:lpstr>FIZZBUZZ :</vt:lpstr>
      <vt:lpstr>JUMBLED WORDS :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NALD</dc:creator>
  <cp:lastModifiedBy>PRITAM KUNDU</cp:lastModifiedBy>
  <cp:revision>156</cp:revision>
  <dcterms:created xsi:type="dcterms:W3CDTF">2019-05-28T07:34:16Z</dcterms:created>
  <dcterms:modified xsi:type="dcterms:W3CDTF">2020-01-12T02:51:34Z</dcterms:modified>
</cp:coreProperties>
</file>